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272" r:id="rId5"/>
    <p:sldId id="1221" r:id="rId6"/>
    <p:sldId id="277" r:id="rId7"/>
    <p:sldId id="273" r:id="rId8"/>
    <p:sldId id="274" r:id="rId9"/>
    <p:sldId id="1222" r:id="rId10"/>
    <p:sldId id="275" r:id="rId11"/>
    <p:sldId id="257" r:id="rId12"/>
  </p:sldIdLst>
  <p:sldSz cx="12192000" cy="6858000"/>
  <p:notesSz cx="6858000" cy="9144000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A5EE05B-2019-4F75-BAD9-4628823392B0}" v="211" dt="2026-05-27T08:13:18.253"/>
    <p1510:client id="{8361C885-DB4F-33AE-2ADD-D798F6A4A0FC}" v="14" dt="2026-05-27T10:52:05.430"/>
    <p1510:client id="{8AC4587E-04E2-4990-AA7B-0FC0DF25E1A0}" v="5" dt="2026-05-27T10:57:49.166"/>
  </p1510:revLst>
</p1510:revInfo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9" d="100"/>
          <a:sy n="99" d="100"/>
        </p:scale>
        <p:origin x="99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lena Reisert" userId="c1e9515a-c702-427f-bbff-9697cf24916e" providerId="ADAL" clId="{23289557-7985-4239-BC74-DE8CAD1D0FFB}"/>
    <pc:docChg chg="undo redo custSel addSld delSld modSld">
      <pc:chgData name="Elena Reisert" userId="c1e9515a-c702-427f-bbff-9697cf24916e" providerId="ADAL" clId="{23289557-7985-4239-BC74-DE8CAD1D0FFB}" dt="2026-05-27T08:13:20.704" v="2025" actId="47"/>
      <pc:docMkLst>
        <pc:docMk/>
      </pc:docMkLst>
      <pc:sldChg chg="addSp modSp add del mod modClrScheme chgLayout">
        <pc:chgData name="Elena Reisert" userId="c1e9515a-c702-427f-bbff-9697cf24916e" providerId="ADAL" clId="{23289557-7985-4239-BC74-DE8CAD1D0FFB}" dt="2026-05-27T08:04:13.431" v="1885" actId="47"/>
        <pc:sldMkLst>
          <pc:docMk/>
          <pc:sldMk cId="307601643" sldId="256"/>
        </pc:sldMkLst>
        <pc:spChg chg="add mod ord">
          <ac:chgData name="Elena Reisert" userId="c1e9515a-c702-427f-bbff-9697cf24916e" providerId="ADAL" clId="{23289557-7985-4239-BC74-DE8CAD1D0FFB}" dt="2026-05-27T07:10:54.418" v="64" actId="700"/>
          <ac:spMkLst>
            <pc:docMk/>
            <pc:sldMk cId="307601643" sldId="256"/>
            <ac:spMk id="4" creationId="{101CBAA3-7E04-3068-BA72-CE07FEF37D70}"/>
          </ac:spMkLst>
        </pc:spChg>
        <pc:spChg chg="mod ord">
          <ac:chgData name="Elena Reisert" userId="c1e9515a-c702-427f-bbff-9697cf24916e" providerId="ADAL" clId="{23289557-7985-4239-BC74-DE8CAD1D0FFB}" dt="2026-05-27T07:10:54.418" v="64" actId="700"/>
          <ac:spMkLst>
            <pc:docMk/>
            <pc:sldMk cId="307601643" sldId="256"/>
            <ac:spMk id="60" creationId="{CF7224AD-5A24-0637-0F33-363FDC40B547}"/>
          </ac:spMkLst>
        </pc:spChg>
        <pc:picChg chg="mod ord">
          <ac:chgData name="Elena Reisert" userId="c1e9515a-c702-427f-bbff-9697cf24916e" providerId="ADAL" clId="{23289557-7985-4239-BC74-DE8CAD1D0FFB}" dt="2026-05-27T07:10:54.418" v="64" actId="700"/>
          <ac:picMkLst>
            <pc:docMk/>
            <pc:sldMk cId="307601643" sldId="256"/>
            <ac:picMk id="78" creationId="{91B09EB8-43D6-73B6-62CF-9710A35EC489}"/>
          </ac:picMkLst>
        </pc:picChg>
        <pc:cxnChg chg="mod">
          <ac:chgData name="Elena Reisert" userId="c1e9515a-c702-427f-bbff-9697cf24916e" providerId="ADAL" clId="{23289557-7985-4239-BC74-DE8CAD1D0FFB}" dt="2026-05-27T07:10:54.418" v="64" actId="700"/>
          <ac:cxnSpMkLst>
            <pc:docMk/>
            <pc:sldMk cId="307601643" sldId="256"/>
            <ac:cxnSpMk id="56" creationId="{00A40CCB-7BB7-4BCC-623A-060C80902E70}"/>
          </ac:cxnSpMkLst>
        </pc:cxnChg>
      </pc:sldChg>
      <pc:sldChg chg="del">
        <pc:chgData name="Elena Reisert" userId="c1e9515a-c702-427f-bbff-9697cf24916e" providerId="ADAL" clId="{23289557-7985-4239-BC74-DE8CAD1D0FFB}" dt="2026-05-27T07:10:11.164" v="62" actId="47"/>
        <pc:sldMkLst>
          <pc:docMk/>
          <pc:sldMk cId="2324843409" sldId="256"/>
        </pc:sldMkLst>
      </pc:sldChg>
      <pc:sldChg chg="del">
        <pc:chgData name="Elena Reisert" userId="c1e9515a-c702-427f-bbff-9697cf24916e" providerId="ADAL" clId="{23289557-7985-4239-BC74-DE8CAD1D0FFB}" dt="2026-05-27T08:05:06.614" v="1886" actId="47"/>
        <pc:sldMkLst>
          <pc:docMk/>
          <pc:sldMk cId="3122017278" sldId="257"/>
        </pc:sldMkLst>
      </pc:sldChg>
      <pc:sldChg chg="add">
        <pc:chgData name="Elena Reisert" userId="c1e9515a-c702-427f-bbff-9697cf24916e" providerId="ADAL" clId="{23289557-7985-4239-BC74-DE8CAD1D0FFB}" dt="2026-05-27T08:13:18.253" v="2024"/>
        <pc:sldMkLst>
          <pc:docMk/>
          <pc:sldMk cId="3313973555" sldId="257"/>
        </pc:sldMkLst>
      </pc:sldChg>
      <pc:sldChg chg="del">
        <pc:chgData name="Elena Reisert" userId="c1e9515a-c702-427f-bbff-9697cf24916e" providerId="ADAL" clId="{23289557-7985-4239-BC74-DE8CAD1D0FFB}" dt="2026-05-27T08:05:06.614" v="1886" actId="47"/>
        <pc:sldMkLst>
          <pc:docMk/>
          <pc:sldMk cId="3759370707" sldId="258"/>
        </pc:sldMkLst>
      </pc:sldChg>
      <pc:sldChg chg="del">
        <pc:chgData name="Elena Reisert" userId="c1e9515a-c702-427f-bbff-9697cf24916e" providerId="ADAL" clId="{23289557-7985-4239-BC74-DE8CAD1D0FFB}" dt="2026-05-27T08:13:20.704" v="2025" actId="47"/>
        <pc:sldMkLst>
          <pc:docMk/>
          <pc:sldMk cId="2045887530" sldId="259"/>
        </pc:sldMkLst>
      </pc:sldChg>
      <pc:sldChg chg="del">
        <pc:chgData name="Elena Reisert" userId="c1e9515a-c702-427f-bbff-9697cf24916e" providerId="ADAL" clId="{23289557-7985-4239-BC74-DE8CAD1D0FFB}" dt="2026-05-27T08:05:06.614" v="1886" actId="47"/>
        <pc:sldMkLst>
          <pc:docMk/>
          <pc:sldMk cId="855692579" sldId="260"/>
        </pc:sldMkLst>
      </pc:sldChg>
      <pc:sldChg chg="del">
        <pc:chgData name="Elena Reisert" userId="c1e9515a-c702-427f-bbff-9697cf24916e" providerId="ADAL" clId="{23289557-7985-4239-BC74-DE8CAD1D0FFB}" dt="2026-05-27T08:05:06.614" v="1886" actId="47"/>
        <pc:sldMkLst>
          <pc:docMk/>
          <pc:sldMk cId="2110261798" sldId="261"/>
        </pc:sldMkLst>
      </pc:sldChg>
      <pc:sldChg chg="del">
        <pc:chgData name="Elena Reisert" userId="c1e9515a-c702-427f-bbff-9697cf24916e" providerId="ADAL" clId="{23289557-7985-4239-BC74-DE8CAD1D0FFB}" dt="2026-05-27T08:05:06.614" v="1886" actId="47"/>
        <pc:sldMkLst>
          <pc:docMk/>
          <pc:sldMk cId="1214544768" sldId="262"/>
        </pc:sldMkLst>
      </pc:sldChg>
      <pc:sldChg chg="del">
        <pc:chgData name="Elena Reisert" userId="c1e9515a-c702-427f-bbff-9697cf24916e" providerId="ADAL" clId="{23289557-7985-4239-BC74-DE8CAD1D0FFB}" dt="2026-05-27T08:05:06.614" v="1886" actId="47"/>
        <pc:sldMkLst>
          <pc:docMk/>
          <pc:sldMk cId="4128140602" sldId="263"/>
        </pc:sldMkLst>
      </pc:sldChg>
      <pc:sldChg chg="del">
        <pc:chgData name="Elena Reisert" userId="c1e9515a-c702-427f-bbff-9697cf24916e" providerId="ADAL" clId="{23289557-7985-4239-BC74-DE8CAD1D0FFB}" dt="2026-05-27T08:05:06.614" v="1886" actId="47"/>
        <pc:sldMkLst>
          <pc:docMk/>
          <pc:sldMk cId="2245187184" sldId="264"/>
        </pc:sldMkLst>
      </pc:sldChg>
      <pc:sldChg chg="del">
        <pc:chgData name="Elena Reisert" userId="c1e9515a-c702-427f-bbff-9697cf24916e" providerId="ADAL" clId="{23289557-7985-4239-BC74-DE8CAD1D0FFB}" dt="2026-05-27T08:05:06.614" v="1886" actId="47"/>
        <pc:sldMkLst>
          <pc:docMk/>
          <pc:sldMk cId="3455739017" sldId="265"/>
        </pc:sldMkLst>
      </pc:sldChg>
      <pc:sldChg chg="del">
        <pc:chgData name="Elena Reisert" userId="c1e9515a-c702-427f-bbff-9697cf24916e" providerId="ADAL" clId="{23289557-7985-4239-BC74-DE8CAD1D0FFB}" dt="2026-05-27T08:05:06.614" v="1886" actId="47"/>
        <pc:sldMkLst>
          <pc:docMk/>
          <pc:sldMk cId="164103459" sldId="266"/>
        </pc:sldMkLst>
      </pc:sldChg>
      <pc:sldChg chg="add del">
        <pc:chgData name="Elena Reisert" userId="c1e9515a-c702-427f-bbff-9697cf24916e" providerId="ADAL" clId="{23289557-7985-4239-BC74-DE8CAD1D0FFB}" dt="2026-05-27T08:05:22.081" v="1887" actId="47"/>
        <pc:sldMkLst>
          <pc:docMk/>
          <pc:sldMk cId="3559699387" sldId="267"/>
        </pc:sldMkLst>
      </pc:sldChg>
      <pc:sldChg chg="del">
        <pc:chgData name="Elena Reisert" userId="c1e9515a-c702-427f-bbff-9697cf24916e" providerId="ADAL" clId="{23289557-7985-4239-BC74-DE8CAD1D0FFB}" dt="2026-05-27T08:05:06.614" v="1886" actId="47"/>
        <pc:sldMkLst>
          <pc:docMk/>
          <pc:sldMk cId="1962489143" sldId="268"/>
        </pc:sldMkLst>
      </pc:sldChg>
      <pc:sldChg chg="del">
        <pc:chgData name="Elena Reisert" userId="c1e9515a-c702-427f-bbff-9697cf24916e" providerId="ADAL" clId="{23289557-7985-4239-BC74-DE8CAD1D0FFB}" dt="2026-05-27T08:05:06.614" v="1886" actId="47"/>
        <pc:sldMkLst>
          <pc:docMk/>
          <pc:sldMk cId="1933513261" sldId="269"/>
        </pc:sldMkLst>
      </pc:sldChg>
      <pc:sldChg chg="add del">
        <pc:chgData name="Elena Reisert" userId="c1e9515a-c702-427f-bbff-9697cf24916e" providerId="ADAL" clId="{23289557-7985-4239-BC74-DE8CAD1D0FFB}" dt="2026-05-27T08:05:22.081" v="1887" actId="47"/>
        <pc:sldMkLst>
          <pc:docMk/>
          <pc:sldMk cId="1542382478" sldId="270"/>
        </pc:sldMkLst>
      </pc:sldChg>
      <pc:sldChg chg="add del">
        <pc:chgData name="Elena Reisert" userId="c1e9515a-c702-427f-bbff-9697cf24916e" providerId="ADAL" clId="{23289557-7985-4239-BC74-DE8CAD1D0FFB}" dt="2026-05-27T08:05:06.614" v="1886" actId="47"/>
        <pc:sldMkLst>
          <pc:docMk/>
          <pc:sldMk cId="3962889946" sldId="271"/>
        </pc:sldMkLst>
      </pc:sldChg>
      <pc:sldChg chg="modSp add mod">
        <pc:chgData name="Elena Reisert" userId="c1e9515a-c702-427f-bbff-9697cf24916e" providerId="ADAL" clId="{23289557-7985-4239-BC74-DE8CAD1D0FFB}" dt="2026-05-27T07:10:02.005" v="61"/>
        <pc:sldMkLst>
          <pc:docMk/>
          <pc:sldMk cId="1729663436" sldId="272"/>
        </pc:sldMkLst>
        <pc:spChg chg="mod">
          <ac:chgData name="Elena Reisert" userId="c1e9515a-c702-427f-bbff-9697cf24916e" providerId="ADAL" clId="{23289557-7985-4239-BC74-DE8CAD1D0FFB}" dt="2026-05-27T07:09:52.631" v="60" actId="20577"/>
          <ac:spMkLst>
            <pc:docMk/>
            <pc:sldMk cId="1729663436" sldId="272"/>
            <ac:spMk id="2" creationId="{BCE54CAE-325C-A3CE-4C54-6125267168D1}"/>
          </ac:spMkLst>
        </pc:spChg>
        <pc:spChg chg="mod">
          <ac:chgData name="Elena Reisert" userId="c1e9515a-c702-427f-bbff-9697cf24916e" providerId="ADAL" clId="{23289557-7985-4239-BC74-DE8CAD1D0FFB}" dt="2026-05-27T07:10:02.005" v="61"/>
          <ac:spMkLst>
            <pc:docMk/>
            <pc:sldMk cId="1729663436" sldId="272"/>
            <ac:spMk id="7" creationId="{8740BCFD-674C-FE11-38CF-147B71947666}"/>
          </ac:spMkLst>
        </pc:spChg>
      </pc:sldChg>
      <pc:sldChg chg="add">
        <pc:chgData name="Elena Reisert" userId="c1e9515a-c702-427f-bbff-9697cf24916e" providerId="ADAL" clId="{23289557-7985-4239-BC74-DE8CAD1D0FFB}" dt="2026-05-27T07:09:11.908" v="1"/>
        <pc:sldMkLst>
          <pc:docMk/>
          <pc:sldMk cId="2888952152" sldId="273"/>
        </pc:sldMkLst>
      </pc:sldChg>
      <pc:sldChg chg="add">
        <pc:chgData name="Elena Reisert" userId="c1e9515a-c702-427f-bbff-9697cf24916e" providerId="ADAL" clId="{23289557-7985-4239-BC74-DE8CAD1D0FFB}" dt="2026-05-27T07:09:11.908" v="1"/>
        <pc:sldMkLst>
          <pc:docMk/>
          <pc:sldMk cId="655882295" sldId="274"/>
        </pc:sldMkLst>
      </pc:sldChg>
      <pc:sldChg chg="modSp add mod">
        <pc:chgData name="Elena Reisert" userId="c1e9515a-c702-427f-bbff-9697cf24916e" providerId="ADAL" clId="{23289557-7985-4239-BC74-DE8CAD1D0FFB}" dt="2026-05-27T08:11:55.380" v="2017" actId="20577"/>
        <pc:sldMkLst>
          <pc:docMk/>
          <pc:sldMk cId="110480929" sldId="275"/>
        </pc:sldMkLst>
        <pc:spChg chg="mod">
          <ac:chgData name="Elena Reisert" userId="c1e9515a-c702-427f-bbff-9697cf24916e" providerId="ADAL" clId="{23289557-7985-4239-BC74-DE8CAD1D0FFB}" dt="2026-05-27T08:11:55.380" v="2017" actId="20577"/>
          <ac:spMkLst>
            <pc:docMk/>
            <pc:sldMk cId="110480929" sldId="275"/>
            <ac:spMk id="4" creationId="{8DCEA16E-0AE0-EE5F-6BBF-8E6BE4E0BC4C}"/>
          </ac:spMkLst>
        </pc:spChg>
      </pc:sldChg>
      <pc:sldChg chg="add del">
        <pc:chgData name="Elena Reisert" userId="c1e9515a-c702-427f-bbff-9697cf24916e" providerId="ADAL" clId="{23289557-7985-4239-BC74-DE8CAD1D0FFB}" dt="2026-05-27T08:05:22.081" v="1887" actId="47"/>
        <pc:sldMkLst>
          <pc:docMk/>
          <pc:sldMk cId="3499204896" sldId="276"/>
        </pc:sldMkLst>
      </pc:sldChg>
      <pc:sldChg chg="addSp delSp modSp add mod">
        <pc:chgData name="Elena Reisert" userId="c1e9515a-c702-427f-bbff-9697cf24916e" providerId="ADAL" clId="{23289557-7985-4239-BC74-DE8CAD1D0FFB}" dt="2026-05-27T08:03:44.974" v="1883" actId="167"/>
        <pc:sldMkLst>
          <pc:docMk/>
          <pc:sldMk cId="2754943028" sldId="277"/>
        </pc:sldMkLst>
        <pc:spChg chg="mod">
          <ac:chgData name="Elena Reisert" userId="c1e9515a-c702-427f-bbff-9697cf24916e" providerId="ADAL" clId="{23289557-7985-4239-BC74-DE8CAD1D0FFB}" dt="2026-05-27T07:57:16.112" v="1759" actId="20577"/>
          <ac:spMkLst>
            <pc:docMk/>
            <pc:sldMk cId="2754943028" sldId="277"/>
            <ac:spMk id="5" creationId="{5CC641BE-25F8-CCA3-B7C5-1F9620197725}"/>
          </ac:spMkLst>
        </pc:spChg>
        <pc:spChg chg="mod">
          <ac:chgData name="Elena Reisert" userId="c1e9515a-c702-427f-bbff-9697cf24916e" providerId="ADAL" clId="{23289557-7985-4239-BC74-DE8CAD1D0FFB}" dt="2026-05-27T08:02:57.912" v="1865" actId="207"/>
          <ac:spMkLst>
            <pc:docMk/>
            <pc:sldMk cId="2754943028" sldId="277"/>
            <ac:spMk id="6" creationId="{9B366092-6B65-2163-8228-12CBFA6CF3DF}"/>
          </ac:spMkLst>
        </pc:spChg>
        <pc:spChg chg="del">
          <ac:chgData name="Elena Reisert" userId="c1e9515a-c702-427f-bbff-9697cf24916e" providerId="ADAL" clId="{23289557-7985-4239-BC74-DE8CAD1D0FFB}" dt="2026-05-27T07:28:55.633" v="858" actId="478"/>
          <ac:spMkLst>
            <pc:docMk/>
            <pc:sldMk cId="2754943028" sldId="277"/>
            <ac:spMk id="7" creationId="{7426F976-FA62-350D-F051-646788C7725F}"/>
          </ac:spMkLst>
        </pc:spChg>
        <pc:spChg chg="mod">
          <ac:chgData name="Elena Reisert" userId="c1e9515a-c702-427f-bbff-9697cf24916e" providerId="ADAL" clId="{23289557-7985-4239-BC74-DE8CAD1D0FFB}" dt="2026-05-27T08:02:26.166" v="1850" actId="1076"/>
          <ac:spMkLst>
            <pc:docMk/>
            <pc:sldMk cId="2754943028" sldId="277"/>
            <ac:spMk id="9" creationId="{DDE0AEF4-DB92-03C4-BA7C-6CB701BA332A}"/>
          </ac:spMkLst>
        </pc:spChg>
        <pc:spChg chg="mod">
          <ac:chgData name="Elena Reisert" userId="c1e9515a-c702-427f-bbff-9697cf24916e" providerId="ADAL" clId="{23289557-7985-4239-BC74-DE8CAD1D0FFB}" dt="2026-05-27T08:02:26.166" v="1850" actId="1076"/>
          <ac:spMkLst>
            <pc:docMk/>
            <pc:sldMk cId="2754943028" sldId="277"/>
            <ac:spMk id="10" creationId="{F12F230D-D951-925E-94BF-EFAE6CC40540}"/>
          </ac:spMkLst>
        </pc:spChg>
        <pc:spChg chg="add del">
          <ac:chgData name="Elena Reisert" userId="c1e9515a-c702-427f-bbff-9697cf24916e" providerId="ADAL" clId="{23289557-7985-4239-BC74-DE8CAD1D0FFB}" dt="2026-05-27T07:12:14.003" v="69" actId="478"/>
          <ac:spMkLst>
            <pc:docMk/>
            <pc:sldMk cId="2754943028" sldId="277"/>
            <ac:spMk id="12" creationId="{BD962291-4D89-F289-4EA0-269BC021D595}"/>
          </ac:spMkLst>
        </pc:spChg>
        <pc:spChg chg="mod">
          <ac:chgData name="Elena Reisert" userId="c1e9515a-c702-427f-bbff-9697cf24916e" providerId="ADAL" clId="{23289557-7985-4239-BC74-DE8CAD1D0FFB}" dt="2026-05-27T08:02:26.166" v="1850" actId="1076"/>
          <ac:spMkLst>
            <pc:docMk/>
            <pc:sldMk cId="2754943028" sldId="277"/>
            <ac:spMk id="13" creationId="{F3402D2A-710E-A6E3-D255-61ABF95CDF66}"/>
          </ac:spMkLst>
        </pc:spChg>
        <pc:spChg chg="add del mod">
          <ac:chgData name="Elena Reisert" userId="c1e9515a-c702-427f-bbff-9697cf24916e" providerId="ADAL" clId="{23289557-7985-4239-BC74-DE8CAD1D0FFB}" dt="2026-05-27T07:12:33.461" v="72" actId="478"/>
          <ac:spMkLst>
            <pc:docMk/>
            <pc:sldMk cId="2754943028" sldId="277"/>
            <ac:spMk id="14" creationId="{931694E8-6552-96FA-7C08-54B9DACFA15B}"/>
          </ac:spMkLst>
        </pc:spChg>
        <pc:spChg chg="add mod">
          <ac:chgData name="Elena Reisert" userId="c1e9515a-c702-427f-bbff-9697cf24916e" providerId="ADAL" clId="{23289557-7985-4239-BC74-DE8CAD1D0FFB}" dt="2026-05-27T07:14:23.607" v="96" actId="767"/>
          <ac:spMkLst>
            <pc:docMk/>
            <pc:sldMk cId="2754943028" sldId="277"/>
            <ac:spMk id="18" creationId="{5973DAFC-28BD-66A0-D4FD-42F7C6380C0C}"/>
          </ac:spMkLst>
        </pc:spChg>
        <pc:spChg chg="add mod">
          <ac:chgData name="Elena Reisert" userId="c1e9515a-c702-427f-bbff-9697cf24916e" providerId="ADAL" clId="{23289557-7985-4239-BC74-DE8CAD1D0FFB}" dt="2026-05-27T08:02:26.166" v="1850" actId="1076"/>
          <ac:spMkLst>
            <pc:docMk/>
            <pc:sldMk cId="2754943028" sldId="277"/>
            <ac:spMk id="25" creationId="{BC5052FD-AF59-561E-57B6-2BA5BFB9916C}"/>
          </ac:spMkLst>
        </pc:spChg>
        <pc:spChg chg="add del mod">
          <ac:chgData name="Elena Reisert" userId="c1e9515a-c702-427f-bbff-9697cf24916e" providerId="ADAL" clId="{23289557-7985-4239-BC74-DE8CAD1D0FFB}" dt="2026-05-27T07:22:33.216" v="265" actId="478"/>
          <ac:spMkLst>
            <pc:docMk/>
            <pc:sldMk cId="2754943028" sldId="277"/>
            <ac:spMk id="26" creationId="{778C1EF1-E9E5-BBB3-2BDD-69859B4FB362}"/>
          </ac:spMkLst>
        </pc:spChg>
        <pc:spChg chg="add del mod">
          <ac:chgData name="Elena Reisert" userId="c1e9515a-c702-427f-bbff-9697cf24916e" providerId="ADAL" clId="{23289557-7985-4239-BC74-DE8CAD1D0FFB}" dt="2026-05-27T07:28:53.316" v="857" actId="478"/>
          <ac:spMkLst>
            <pc:docMk/>
            <pc:sldMk cId="2754943028" sldId="277"/>
            <ac:spMk id="27" creationId="{C32EE2CC-6D56-5ADB-665C-7B2D9548F13F}"/>
          </ac:spMkLst>
        </pc:spChg>
        <pc:spChg chg="add del mod">
          <ac:chgData name="Elena Reisert" userId="c1e9515a-c702-427f-bbff-9697cf24916e" providerId="ADAL" clId="{23289557-7985-4239-BC74-DE8CAD1D0FFB}" dt="2026-05-27T07:28:53.316" v="857" actId="478"/>
          <ac:spMkLst>
            <pc:docMk/>
            <pc:sldMk cId="2754943028" sldId="277"/>
            <ac:spMk id="28" creationId="{42CB5E7D-D127-47A8-65FA-99ABE429B350}"/>
          </ac:spMkLst>
        </pc:spChg>
        <pc:spChg chg="add mod ord">
          <ac:chgData name="Elena Reisert" userId="c1e9515a-c702-427f-bbff-9697cf24916e" providerId="ADAL" clId="{23289557-7985-4239-BC74-DE8CAD1D0FFB}" dt="2026-05-27T07:24:07.108" v="449"/>
          <ac:spMkLst>
            <pc:docMk/>
            <pc:sldMk cId="2754943028" sldId="277"/>
            <ac:spMk id="29" creationId="{51D9FEFB-3236-67B8-E9AE-F4061CB2DDD6}"/>
          </ac:spMkLst>
        </pc:spChg>
        <pc:spChg chg="add mod ord modVis">
          <ac:chgData name="Elena Reisert" userId="c1e9515a-c702-427f-bbff-9697cf24916e" providerId="ADAL" clId="{23289557-7985-4239-BC74-DE8CAD1D0FFB}" dt="2026-05-27T07:24:07.110" v="451"/>
          <ac:spMkLst>
            <pc:docMk/>
            <pc:sldMk cId="2754943028" sldId="277"/>
            <ac:spMk id="30" creationId="{027B9901-9C36-4E28-2AA3-95EFDABF5230}"/>
          </ac:spMkLst>
        </pc:spChg>
        <pc:spChg chg="add mod ord">
          <ac:chgData name="Elena Reisert" userId="c1e9515a-c702-427f-bbff-9697cf24916e" providerId="ADAL" clId="{23289557-7985-4239-BC74-DE8CAD1D0FFB}" dt="2026-05-27T07:24:07.110" v="453"/>
          <ac:spMkLst>
            <pc:docMk/>
            <pc:sldMk cId="2754943028" sldId="277"/>
            <ac:spMk id="31" creationId="{DAD1D672-312E-DDEA-DA31-441199588876}"/>
          </ac:spMkLst>
        </pc:spChg>
        <pc:spChg chg="add del mod">
          <ac:chgData name="Elena Reisert" userId="c1e9515a-c702-427f-bbff-9697cf24916e" providerId="ADAL" clId="{23289557-7985-4239-BC74-DE8CAD1D0FFB}" dt="2026-05-27T07:26:45.713" v="624" actId="478"/>
          <ac:spMkLst>
            <pc:docMk/>
            <pc:sldMk cId="2754943028" sldId="277"/>
            <ac:spMk id="34" creationId="{523E0760-CE00-56B2-AF4C-C451FDA88EB1}"/>
          </ac:spMkLst>
        </pc:spChg>
        <pc:spChg chg="add del mod">
          <ac:chgData name="Elena Reisert" userId="c1e9515a-c702-427f-bbff-9697cf24916e" providerId="ADAL" clId="{23289557-7985-4239-BC74-DE8CAD1D0FFB}" dt="2026-05-27T07:28:53.316" v="857" actId="478"/>
          <ac:spMkLst>
            <pc:docMk/>
            <pc:sldMk cId="2754943028" sldId="277"/>
            <ac:spMk id="35" creationId="{F90A88AA-7114-0EDC-B16C-EEAC5EB58A03}"/>
          </ac:spMkLst>
        </pc:spChg>
        <pc:spChg chg="add del mod">
          <ac:chgData name="Elena Reisert" userId="c1e9515a-c702-427f-bbff-9697cf24916e" providerId="ADAL" clId="{23289557-7985-4239-BC74-DE8CAD1D0FFB}" dt="2026-05-27T07:37:39.922" v="1008"/>
          <ac:spMkLst>
            <pc:docMk/>
            <pc:sldMk cId="2754943028" sldId="277"/>
            <ac:spMk id="40" creationId="{7C23BAD7-DD4D-000C-AE2E-9C81C4471E04}"/>
          </ac:spMkLst>
        </pc:spChg>
        <pc:spChg chg="add mod topLvl">
          <ac:chgData name="Elena Reisert" userId="c1e9515a-c702-427f-bbff-9697cf24916e" providerId="ADAL" clId="{23289557-7985-4239-BC74-DE8CAD1D0FFB}" dt="2026-05-27T07:58:43.145" v="1788"/>
          <ac:spMkLst>
            <pc:docMk/>
            <pc:sldMk cId="2754943028" sldId="277"/>
            <ac:spMk id="42" creationId="{390E75CB-AFED-53FB-3FAA-B190D0142ADA}"/>
          </ac:spMkLst>
        </pc:spChg>
        <pc:spChg chg="add mod topLvl">
          <ac:chgData name="Elena Reisert" userId="c1e9515a-c702-427f-bbff-9697cf24916e" providerId="ADAL" clId="{23289557-7985-4239-BC74-DE8CAD1D0FFB}" dt="2026-05-27T07:58:43.145" v="1788"/>
          <ac:spMkLst>
            <pc:docMk/>
            <pc:sldMk cId="2754943028" sldId="277"/>
            <ac:spMk id="44" creationId="{16498C14-25DB-0F4A-CBA0-807900AA2097}"/>
          </ac:spMkLst>
        </pc:spChg>
        <pc:spChg chg="mod">
          <ac:chgData name="Elena Reisert" userId="c1e9515a-c702-427f-bbff-9697cf24916e" providerId="ADAL" clId="{23289557-7985-4239-BC74-DE8CAD1D0FFB}" dt="2026-05-27T08:02:26.166" v="1850" actId="1076"/>
          <ac:spMkLst>
            <pc:docMk/>
            <pc:sldMk cId="2754943028" sldId="277"/>
            <ac:spMk id="49" creationId="{8FCE56C8-E4E5-1C7B-85A3-33C8111644AD}"/>
          </ac:spMkLst>
        </pc:spChg>
        <pc:spChg chg="mod">
          <ac:chgData name="Elena Reisert" userId="c1e9515a-c702-427f-bbff-9697cf24916e" providerId="ADAL" clId="{23289557-7985-4239-BC74-DE8CAD1D0FFB}" dt="2026-05-27T08:02:26.166" v="1850" actId="1076"/>
          <ac:spMkLst>
            <pc:docMk/>
            <pc:sldMk cId="2754943028" sldId="277"/>
            <ac:spMk id="50" creationId="{EB04F824-6606-CCF9-CEB2-ED5FF95ECEEF}"/>
          </ac:spMkLst>
        </pc:spChg>
        <pc:spChg chg="mod">
          <ac:chgData name="Elena Reisert" userId="c1e9515a-c702-427f-bbff-9697cf24916e" providerId="ADAL" clId="{23289557-7985-4239-BC74-DE8CAD1D0FFB}" dt="2026-05-27T07:42:58.899" v="1213" actId="20577"/>
          <ac:spMkLst>
            <pc:docMk/>
            <pc:sldMk cId="2754943028" sldId="277"/>
            <ac:spMk id="60" creationId="{45104DC2-070A-984D-A24D-EEBA270FFC68}"/>
          </ac:spMkLst>
        </pc:spChg>
        <pc:spChg chg="mod topLvl">
          <ac:chgData name="Elena Reisert" userId="c1e9515a-c702-427f-bbff-9697cf24916e" providerId="ADAL" clId="{23289557-7985-4239-BC74-DE8CAD1D0FFB}" dt="2026-05-27T07:59:52.093" v="1818"/>
          <ac:spMkLst>
            <pc:docMk/>
            <pc:sldMk cId="2754943028" sldId="277"/>
            <ac:spMk id="62" creationId="{D12490AA-FA4B-E633-9C3E-AC7F039E160F}"/>
          </ac:spMkLst>
        </pc:spChg>
        <pc:spChg chg="mod topLvl">
          <ac:chgData name="Elena Reisert" userId="c1e9515a-c702-427f-bbff-9697cf24916e" providerId="ADAL" clId="{23289557-7985-4239-BC74-DE8CAD1D0FFB}" dt="2026-05-27T07:59:50.395" v="1815"/>
          <ac:spMkLst>
            <pc:docMk/>
            <pc:sldMk cId="2754943028" sldId="277"/>
            <ac:spMk id="69" creationId="{8A3FBB3B-59B9-5E6B-F383-3130A310CA16}"/>
          </ac:spMkLst>
        </pc:spChg>
        <pc:spChg chg="mod">
          <ac:chgData name="Elena Reisert" userId="c1e9515a-c702-427f-bbff-9697cf24916e" providerId="ADAL" clId="{23289557-7985-4239-BC74-DE8CAD1D0FFB}" dt="2026-05-27T08:02:26.166" v="1850" actId="1076"/>
          <ac:spMkLst>
            <pc:docMk/>
            <pc:sldMk cId="2754943028" sldId="277"/>
            <ac:spMk id="80" creationId="{749F3A2D-3F11-8B8A-1A0F-FA5FD2E2ED42}"/>
          </ac:spMkLst>
        </pc:spChg>
        <pc:spChg chg="mod">
          <ac:chgData name="Elena Reisert" userId="c1e9515a-c702-427f-bbff-9697cf24916e" providerId="ADAL" clId="{23289557-7985-4239-BC74-DE8CAD1D0FFB}" dt="2026-05-27T08:02:26.166" v="1850" actId="1076"/>
          <ac:spMkLst>
            <pc:docMk/>
            <pc:sldMk cId="2754943028" sldId="277"/>
            <ac:spMk id="81" creationId="{6EC065D5-8213-D354-E2E0-6468A363D962}"/>
          </ac:spMkLst>
        </pc:spChg>
        <pc:spChg chg="mod">
          <ac:chgData name="Elena Reisert" userId="c1e9515a-c702-427f-bbff-9697cf24916e" providerId="ADAL" clId="{23289557-7985-4239-BC74-DE8CAD1D0FFB}" dt="2026-05-27T08:02:26.166" v="1850" actId="1076"/>
          <ac:spMkLst>
            <pc:docMk/>
            <pc:sldMk cId="2754943028" sldId="277"/>
            <ac:spMk id="82" creationId="{FA74DE9A-5746-C521-E494-4B7C26FE2010}"/>
          </ac:spMkLst>
        </pc:spChg>
        <pc:spChg chg="mod">
          <ac:chgData name="Elena Reisert" userId="c1e9515a-c702-427f-bbff-9697cf24916e" providerId="ADAL" clId="{23289557-7985-4239-BC74-DE8CAD1D0FFB}" dt="2026-05-27T07:14:27.431" v="122" actId="208"/>
          <ac:spMkLst>
            <pc:docMk/>
            <pc:sldMk cId="2754943028" sldId="277"/>
            <ac:spMk id="89" creationId="{7E3B9C7F-8C9C-8EA2-0DCE-1C149E670541}"/>
          </ac:spMkLst>
        </pc:spChg>
        <pc:spChg chg="mod topLvl">
          <ac:chgData name="Elena Reisert" userId="c1e9515a-c702-427f-bbff-9697cf24916e" providerId="ADAL" clId="{23289557-7985-4239-BC74-DE8CAD1D0FFB}" dt="2026-05-27T07:59:52.093" v="1818"/>
          <ac:spMkLst>
            <pc:docMk/>
            <pc:sldMk cId="2754943028" sldId="277"/>
            <ac:spMk id="90" creationId="{90D00D3E-8CFB-0718-EC19-AC553F8FDCE2}"/>
          </ac:spMkLst>
        </pc:spChg>
        <pc:spChg chg="mod">
          <ac:chgData name="Elena Reisert" userId="c1e9515a-c702-427f-bbff-9697cf24916e" providerId="ADAL" clId="{23289557-7985-4239-BC74-DE8CAD1D0FFB}" dt="2026-05-27T07:14:27.431" v="124" actId="208"/>
          <ac:spMkLst>
            <pc:docMk/>
            <pc:sldMk cId="2754943028" sldId="277"/>
            <ac:spMk id="91" creationId="{D0D3C06A-C61D-9D23-23BE-CDC2D809B20E}"/>
          </ac:spMkLst>
        </pc:spChg>
        <pc:spChg chg="mod topLvl">
          <ac:chgData name="Elena Reisert" userId="c1e9515a-c702-427f-bbff-9697cf24916e" providerId="ADAL" clId="{23289557-7985-4239-BC74-DE8CAD1D0FFB}" dt="2026-05-27T07:59:52.093" v="1818"/>
          <ac:spMkLst>
            <pc:docMk/>
            <pc:sldMk cId="2754943028" sldId="277"/>
            <ac:spMk id="95" creationId="{150AF890-63E1-25A9-434F-3E5015444152}"/>
          </ac:spMkLst>
        </pc:spChg>
        <pc:spChg chg="add mod">
          <ac:chgData name="Elena Reisert" userId="c1e9515a-c702-427f-bbff-9697cf24916e" providerId="ADAL" clId="{23289557-7985-4239-BC74-DE8CAD1D0FFB}" dt="2026-05-27T07:58:43.145" v="1788"/>
          <ac:spMkLst>
            <pc:docMk/>
            <pc:sldMk cId="2754943028" sldId="277"/>
            <ac:spMk id="96" creationId="{9653421D-C35B-CDD9-9178-6A762890696C}"/>
          </ac:spMkLst>
        </pc:spChg>
        <pc:spChg chg="add mod">
          <ac:chgData name="Elena Reisert" userId="c1e9515a-c702-427f-bbff-9697cf24916e" providerId="ADAL" clId="{23289557-7985-4239-BC74-DE8CAD1D0FFB}" dt="2026-05-27T07:58:43.145" v="1788"/>
          <ac:spMkLst>
            <pc:docMk/>
            <pc:sldMk cId="2754943028" sldId="277"/>
            <ac:spMk id="97" creationId="{1D70255A-5303-7761-825A-90A49A72B2B7}"/>
          </ac:spMkLst>
        </pc:spChg>
        <pc:spChg chg="add mod">
          <ac:chgData name="Elena Reisert" userId="c1e9515a-c702-427f-bbff-9697cf24916e" providerId="ADAL" clId="{23289557-7985-4239-BC74-DE8CAD1D0FFB}" dt="2026-05-27T07:59:52.093" v="1818"/>
          <ac:spMkLst>
            <pc:docMk/>
            <pc:sldMk cId="2754943028" sldId="277"/>
            <ac:spMk id="98" creationId="{3D1DB48C-2D75-4361-7D2C-66D72D4E0293}"/>
          </ac:spMkLst>
        </pc:spChg>
        <pc:spChg chg="mod">
          <ac:chgData name="Elena Reisert" userId="c1e9515a-c702-427f-bbff-9697cf24916e" providerId="ADAL" clId="{23289557-7985-4239-BC74-DE8CAD1D0FFB}" dt="2026-05-27T07:14:27.431" v="116" actId="208"/>
          <ac:spMkLst>
            <pc:docMk/>
            <pc:sldMk cId="2754943028" sldId="277"/>
            <ac:spMk id="100" creationId="{9AADD9E1-CB9E-8D33-0869-6A7054729345}"/>
          </ac:spMkLst>
        </pc:spChg>
        <pc:spChg chg="mod">
          <ac:chgData name="Elena Reisert" userId="c1e9515a-c702-427f-bbff-9697cf24916e" providerId="ADAL" clId="{23289557-7985-4239-BC74-DE8CAD1D0FFB}" dt="2026-05-27T07:14:27.431" v="118" actId="208"/>
          <ac:spMkLst>
            <pc:docMk/>
            <pc:sldMk cId="2754943028" sldId="277"/>
            <ac:spMk id="101" creationId="{3534E38D-286E-C2EA-3284-E678EAE01BC3}"/>
          </ac:spMkLst>
        </pc:spChg>
        <pc:spChg chg="mod">
          <ac:chgData name="Elena Reisert" userId="c1e9515a-c702-427f-bbff-9697cf24916e" providerId="ADAL" clId="{23289557-7985-4239-BC74-DE8CAD1D0FFB}" dt="2026-05-27T08:02:26.166" v="1850" actId="1076"/>
          <ac:spMkLst>
            <pc:docMk/>
            <pc:sldMk cId="2754943028" sldId="277"/>
            <ac:spMk id="102" creationId="{B1780418-321A-D5E1-2871-03A3C2EDF684}"/>
          </ac:spMkLst>
        </pc:spChg>
        <pc:spChg chg="del mod">
          <ac:chgData name="Elena Reisert" userId="c1e9515a-c702-427f-bbff-9697cf24916e" providerId="ADAL" clId="{23289557-7985-4239-BC74-DE8CAD1D0FFB}" dt="2026-05-27T07:19:06.971" v="187" actId="478"/>
          <ac:spMkLst>
            <pc:docMk/>
            <pc:sldMk cId="2754943028" sldId="277"/>
            <ac:spMk id="103" creationId="{7723FE29-7DAC-CE3C-9B22-10C33706A13C}"/>
          </ac:spMkLst>
        </pc:spChg>
        <pc:spChg chg="add mod">
          <ac:chgData name="Elena Reisert" userId="c1e9515a-c702-427f-bbff-9697cf24916e" providerId="ADAL" clId="{23289557-7985-4239-BC74-DE8CAD1D0FFB}" dt="2026-05-27T07:59:52.093" v="1818"/>
          <ac:spMkLst>
            <pc:docMk/>
            <pc:sldMk cId="2754943028" sldId="277"/>
            <ac:spMk id="104" creationId="{9F8FACE6-8479-968B-7F02-589227CD3CD5}"/>
          </ac:spMkLst>
        </pc:spChg>
        <pc:spChg chg="add mod">
          <ac:chgData name="Elena Reisert" userId="c1e9515a-c702-427f-bbff-9697cf24916e" providerId="ADAL" clId="{23289557-7985-4239-BC74-DE8CAD1D0FFB}" dt="2026-05-27T07:59:50.395" v="1815"/>
          <ac:spMkLst>
            <pc:docMk/>
            <pc:sldMk cId="2754943028" sldId="277"/>
            <ac:spMk id="106" creationId="{EA8694A1-4B6A-FB0D-2C5B-69AF94C4052C}"/>
          </ac:spMkLst>
        </pc:spChg>
        <pc:spChg chg="add mod">
          <ac:chgData name="Elena Reisert" userId="c1e9515a-c702-427f-bbff-9697cf24916e" providerId="ADAL" clId="{23289557-7985-4239-BC74-DE8CAD1D0FFB}" dt="2026-05-27T07:59:52.093" v="1818"/>
          <ac:spMkLst>
            <pc:docMk/>
            <pc:sldMk cId="2754943028" sldId="277"/>
            <ac:spMk id="107" creationId="{086250A7-2F8D-C0DC-3CAC-B2AA3A60E54B}"/>
          </ac:spMkLst>
        </pc:spChg>
        <pc:spChg chg="add del mod">
          <ac:chgData name="Elena Reisert" userId="c1e9515a-c702-427f-bbff-9697cf24916e" providerId="ADAL" clId="{23289557-7985-4239-BC74-DE8CAD1D0FFB}" dt="2026-05-27T07:54:23.739" v="1653" actId="478"/>
          <ac:spMkLst>
            <pc:docMk/>
            <pc:sldMk cId="2754943028" sldId="277"/>
            <ac:spMk id="109" creationId="{9609E301-7634-0EB0-4D2B-CB2B1482FCB6}"/>
          </ac:spMkLst>
        </pc:spChg>
        <pc:spChg chg="mod">
          <ac:chgData name="Elena Reisert" userId="c1e9515a-c702-427f-bbff-9697cf24916e" providerId="ADAL" clId="{23289557-7985-4239-BC74-DE8CAD1D0FFB}" dt="2026-05-27T07:54:04.842" v="1643"/>
          <ac:spMkLst>
            <pc:docMk/>
            <pc:sldMk cId="2754943028" sldId="277"/>
            <ac:spMk id="111" creationId="{6CFCC611-3FB2-EDD3-F16F-825940F529A5}"/>
          </ac:spMkLst>
        </pc:spChg>
        <pc:spChg chg="mod">
          <ac:chgData name="Elena Reisert" userId="c1e9515a-c702-427f-bbff-9697cf24916e" providerId="ADAL" clId="{23289557-7985-4239-BC74-DE8CAD1D0FFB}" dt="2026-05-27T07:54:04.842" v="1643"/>
          <ac:spMkLst>
            <pc:docMk/>
            <pc:sldMk cId="2754943028" sldId="277"/>
            <ac:spMk id="112" creationId="{25A69A5B-59B3-E00E-5A0C-299984E47A93}"/>
          </ac:spMkLst>
        </pc:spChg>
        <pc:spChg chg="mod">
          <ac:chgData name="Elena Reisert" userId="c1e9515a-c702-427f-bbff-9697cf24916e" providerId="ADAL" clId="{23289557-7985-4239-BC74-DE8CAD1D0FFB}" dt="2026-05-27T07:54:04.842" v="1643"/>
          <ac:spMkLst>
            <pc:docMk/>
            <pc:sldMk cId="2754943028" sldId="277"/>
            <ac:spMk id="113" creationId="{A2650EB5-D07B-4339-9787-9495F32A9F19}"/>
          </ac:spMkLst>
        </pc:spChg>
        <pc:spChg chg="mod">
          <ac:chgData name="Elena Reisert" userId="c1e9515a-c702-427f-bbff-9697cf24916e" providerId="ADAL" clId="{23289557-7985-4239-BC74-DE8CAD1D0FFB}" dt="2026-05-27T07:54:04.842" v="1643"/>
          <ac:spMkLst>
            <pc:docMk/>
            <pc:sldMk cId="2754943028" sldId="277"/>
            <ac:spMk id="114" creationId="{17760A5D-5CBE-D015-A07E-76966CD82350}"/>
          </ac:spMkLst>
        </pc:spChg>
        <pc:spChg chg="mod">
          <ac:chgData name="Elena Reisert" userId="c1e9515a-c702-427f-bbff-9697cf24916e" providerId="ADAL" clId="{23289557-7985-4239-BC74-DE8CAD1D0FFB}" dt="2026-05-27T07:54:04.842" v="1643"/>
          <ac:spMkLst>
            <pc:docMk/>
            <pc:sldMk cId="2754943028" sldId="277"/>
            <ac:spMk id="115" creationId="{8C92D329-3864-8716-003C-591DC5381CE1}"/>
          </ac:spMkLst>
        </pc:spChg>
        <pc:spChg chg="add mod">
          <ac:chgData name="Elena Reisert" userId="c1e9515a-c702-427f-bbff-9697cf24916e" providerId="ADAL" clId="{23289557-7985-4239-BC74-DE8CAD1D0FFB}" dt="2026-05-27T07:59:52.093" v="1818"/>
          <ac:spMkLst>
            <pc:docMk/>
            <pc:sldMk cId="2754943028" sldId="277"/>
            <ac:spMk id="116" creationId="{1E1B2EEF-30F9-BE29-B9E0-494FF24B9F89}"/>
          </ac:spMkLst>
        </pc:spChg>
        <pc:spChg chg="add mod">
          <ac:chgData name="Elena Reisert" userId="c1e9515a-c702-427f-bbff-9697cf24916e" providerId="ADAL" clId="{23289557-7985-4239-BC74-DE8CAD1D0FFB}" dt="2026-05-27T07:59:52.093" v="1818"/>
          <ac:spMkLst>
            <pc:docMk/>
            <pc:sldMk cId="2754943028" sldId="277"/>
            <ac:spMk id="117" creationId="{CBCC2094-D9E7-0DF0-2B8A-C5E8DC7964A9}"/>
          </ac:spMkLst>
        </pc:spChg>
        <pc:spChg chg="add mod">
          <ac:chgData name="Elena Reisert" userId="c1e9515a-c702-427f-bbff-9697cf24916e" providerId="ADAL" clId="{23289557-7985-4239-BC74-DE8CAD1D0FFB}" dt="2026-05-27T07:59:52.093" v="1818"/>
          <ac:spMkLst>
            <pc:docMk/>
            <pc:sldMk cId="2754943028" sldId="277"/>
            <ac:spMk id="118" creationId="{044FE781-952D-3D1F-FD25-E818092E9333}"/>
          </ac:spMkLst>
        </pc:spChg>
        <pc:spChg chg="add mod">
          <ac:chgData name="Elena Reisert" userId="c1e9515a-c702-427f-bbff-9697cf24916e" providerId="ADAL" clId="{23289557-7985-4239-BC74-DE8CAD1D0FFB}" dt="2026-05-27T07:59:52.093" v="1818"/>
          <ac:spMkLst>
            <pc:docMk/>
            <pc:sldMk cId="2754943028" sldId="277"/>
            <ac:spMk id="119" creationId="{34087905-B13E-0D59-2EC8-4443DE3DA289}"/>
          </ac:spMkLst>
        </pc:spChg>
        <pc:spChg chg="add del mod ord">
          <ac:chgData name="Elena Reisert" userId="c1e9515a-c702-427f-bbff-9697cf24916e" providerId="ADAL" clId="{23289557-7985-4239-BC74-DE8CAD1D0FFB}" dt="2026-05-27T08:01:59.706" v="1846" actId="478"/>
          <ac:spMkLst>
            <pc:docMk/>
            <pc:sldMk cId="2754943028" sldId="277"/>
            <ac:spMk id="123" creationId="{AED4BA29-CC84-BF6C-5878-096FB95164DB}"/>
          </ac:spMkLst>
        </pc:spChg>
        <pc:spChg chg="add del mod ord">
          <ac:chgData name="Elena Reisert" userId="c1e9515a-c702-427f-bbff-9697cf24916e" providerId="ADAL" clId="{23289557-7985-4239-BC74-DE8CAD1D0FFB}" dt="2026-05-27T07:59:20.655" v="1809" actId="478"/>
          <ac:spMkLst>
            <pc:docMk/>
            <pc:sldMk cId="2754943028" sldId="277"/>
            <ac:spMk id="124" creationId="{3FD1D1A6-A0D1-26B6-01F3-D4ED6C59FBD1}"/>
          </ac:spMkLst>
        </pc:spChg>
        <pc:spChg chg="add mod ord">
          <ac:chgData name="Elena Reisert" userId="c1e9515a-c702-427f-bbff-9697cf24916e" providerId="ADAL" clId="{23289557-7985-4239-BC74-DE8CAD1D0FFB}" dt="2026-05-27T08:03:17.480" v="1867" actId="14100"/>
          <ac:spMkLst>
            <pc:docMk/>
            <pc:sldMk cId="2754943028" sldId="277"/>
            <ac:spMk id="125" creationId="{C399F894-B5CE-3118-EEB0-0B55B9CEF4AD}"/>
          </ac:spMkLst>
        </pc:spChg>
        <pc:spChg chg="add del mod ord">
          <ac:chgData name="Elena Reisert" userId="c1e9515a-c702-427f-bbff-9697cf24916e" providerId="ADAL" clId="{23289557-7985-4239-BC74-DE8CAD1D0FFB}" dt="2026-05-27T08:01:54.300" v="1845" actId="478"/>
          <ac:spMkLst>
            <pc:docMk/>
            <pc:sldMk cId="2754943028" sldId="277"/>
            <ac:spMk id="126" creationId="{AB4BA93E-6A94-2749-4ACA-FC817A324053}"/>
          </ac:spMkLst>
        </pc:spChg>
        <pc:spChg chg="add mod ord">
          <ac:chgData name="Elena Reisert" userId="c1e9515a-c702-427f-bbff-9697cf24916e" providerId="ADAL" clId="{23289557-7985-4239-BC74-DE8CAD1D0FFB}" dt="2026-05-27T08:02:53.133" v="1864" actId="207"/>
          <ac:spMkLst>
            <pc:docMk/>
            <pc:sldMk cId="2754943028" sldId="277"/>
            <ac:spMk id="127" creationId="{95F6A17C-4850-8899-DAA9-07FB9A2FBCDF}"/>
          </ac:spMkLst>
        </pc:spChg>
        <pc:spChg chg="add mod ord">
          <ac:chgData name="Elena Reisert" userId="c1e9515a-c702-427f-bbff-9697cf24916e" providerId="ADAL" clId="{23289557-7985-4239-BC74-DE8CAD1D0FFB}" dt="2026-05-27T08:03:44.974" v="1883" actId="167"/>
          <ac:spMkLst>
            <pc:docMk/>
            <pc:sldMk cId="2754943028" sldId="277"/>
            <ac:spMk id="128" creationId="{F03458B3-02FB-B352-901C-C3C59AE85EBC}"/>
          </ac:spMkLst>
        </pc:spChg>
        <pc:spChg chg="add mod ord">
          <ac:chgData name="Elena Reisert" userId="c1e9515a-c702-427f-bbff-9697cf24916e" providerId="ADAL" clId="{23289557-7985-4239-BC74-DE8CAD1D0FFB}" dt="2026-05-27T08:03:42.173" v="1882" actId="167"/>
          <ac:spMkLst>
            <pc:docMk/>
            <pc:sldMk cId="2754943028" sldId="277"/>
            <ac:spMk id="129" creationId="{36EF43F1-2449-74D5-3EFA-3756A64B4C6F}"/>
          </ac:spMkLst>
        </pc:spChg>
        <pc:grpChg chg="add del mod">
          <ac:chgData name="Elena Reisert" userId="c1e9515a-c702-427f-bbff-9697cf24916e" providerId="ADAL" clId="{23289557-7985-4239-BC74-DE8CAD1D0FFB}" dt="2026-05-27T07:24:08.533" v="454" actId="478"/>
          <ac:grpSpMkLst>
            <pc:docMk/>
            <pc:sldMk cId="2754943028" sldId="277"/>
            <ac:grpSpMk id="32" creationId="{11644DD4-C253-F274-2D37-1B15BCDF6703}"/>
          </ac:grpSpMkLst>
        </pc:grpChg>
        <pc:grpChg chg="add del mod">
          <ac:chgData name="Elena Reisert" userId="c1e9515a-c702-427f-bbff-9697cf24916e" providerId="ADAL" clId="{23289557-7985-4239-BC74-DE8CAD1D0FFB}" dt="2026-05-27T07:38:51.737" v="1031"/>
          <ac:grpSpMkLst>
            <pc:docMk/>
            <pc:sldMk cId="2754943028" sldId="277"/>
            <ac:grpSpMk id="54" creationId="{11A5A701-21E5-D969-436B-35674B4132C2}"/>
          </ac:grpSpMkLst>
        </pc:grpChg>
        <pc:grpChg chg="add del mod">
          <ac:chgData name="Elena Reisert" userId="c1e9515a-c702-427f-bbff-9697cf24916e" providerId="ADAL" clId="{23289557-7985-4239-BC74-DE8CAD1D0FFB}" dt="2026-05-27T07:38:51.737" v="1030"/>
          <ac:grpSpMkLst>
            <pc:docMk/>
            <pc:sldMk cId="2754943028" sldId="277"/>
            <ac:grpSpMk id="55" creationId="{2E8C84C7-0DAB-9F3E-4910-8F40ED69C50E}"/>
          </ac:grpSpMkLst>
        </pc:grpChg>
        <pc:grpChg chg="add del mod">
          <ac:chgData name="Elena Reisert" userId="c1e9515a-c702-427f-bbff-9697cf24916e" providerId="ADAL" clId="{23289557-7985-4239-BC74-DE8CAD1D0FFB}" dt="2026-05-27T07:38:52.192" v="1039"/>
          <ac:grpSpMkLst>
            <pc:docMk/>
            <pc:sldMk cId="2754943028" sldId="277"/>
            <ac:grpSpMk id="72" creationId="{6F70EE96-D346-F42C-BFC4-AA859244E2FB}"/>
          </ac:grpSpMkLst>
        </pc:grpChg>
        <pc:grpChg chg="add del mod">
          <ac:chgData name="Elena Reisert" userId="c1e9515a-c702-427f-bbff-9697cf24916e" providerId="ADAL" clId="{23289557-7985-4239-BC74-DE8CAD1D0FFB}" dt="2026-05-27T07:38:52.192" v="1038"/>
          <ac:grpSpMkLst>
            <pc:docMk/>
            <pc:sldMk cId="2754943028" sldId="277"/>
            <ac:grpSpMk id="85" creationId="{C004ED56-7D35-6887-AD71-1A9371230C75}"/>
          </ac:grpSpMkLst>
        </pc:grpChg>
        <pc:grpChg chg="add mod">
          <ac:chgData name="Elena Reisert" userId="c1e9515a-c702-427f-bbff-9697cf24916e" providerId="ADAL" clId="{23289557-7985-4239-BC74-DE8CAD1D0FFB}" dt="2026-05-27T07:50:21.499" v="1537" actId="164"/>
          <ac:grpSpMkLst>
            <pc:docMk/>
            <pc:sldMk cId="2754943028" sldId="277"/>
            <ac:grpSpMk id="105" creationId="{F9842FE2-BF65-516E-731D-D1F4B5F82CC6}"/>
          </ac:grpSpMkLst>
        </pc:grpChg>
        <pc:grpChg chg="add mod">
          <ac:chgData name="Elena Reisert" userId="c1e9515a-c702-427f-bbff-9697cf24916e" providerId="ADAL" clId="{23289557-7985-4239-BC74-DE8CAD1D0FFB}" dt="2026-05-27T07:59:50.394" v="1813"/>
          <ac:grpSpMkLst>
            <pc:docMk/>
            <pc:sldMk cId="2754943028" sldId="277"/>
            <ac:grpSpMk id="108" creationId="{8578ED12-532E-DD0D-F222-E082034A9699}"/>
          </ac:grpSpMkLst>
        </pc:grpChg>
        <pc:grpChg chg="add mod">
          <ac:chgData name="Elena Reisert" userId="c1e9515a-c702-427f-bbff-9697cf24916e" providerId="ADAL" clId="{23289557-7985-4239-BC74-DE8CAD1D0FFB}" dt="2026-05-27T07:54:04.842" v="1643"/>
          <ac:grpSpMkLst>
            <pc:docMk/>
            <pc:sldMk cId="2754943028" sldId="277"/>
            <ac:grpSpMk id="110" creationId="{2C350CA9-11D6-C2BF-D575-F6D8D5A89740}"/>
          </ac:grpSpMkLst>
        </pc:grpChg>
        <pc:grpChg chg="add mod">
          <ac:chgData name="Elena Reisert" userId="c1e9515a-c702-427f-bbff-9697cf24916e" providerId="ADAL" clId="{23289557-7985-4239-BC74-DE8CAD1D0FFB}" dt="2026-05-27T08:02:10.459" v="1849" actId="1076"/>
          <ac:grpSpMkLst>
            <pc:docMk/>
            <pc:sldMk cId="2754943028" sldId="277"/>
            <ac:grpSpMk id="120" creationId="{3E752B20-529B-3917-85F7-504C96A32FBD}"/>
          </ac:grpSpMkLst>
        </pc:grpChg>
        <pc:grpChg chg="add mod">
          <ac:chgData name="Elena Reisert" userId="c1e9515a-c702-427f-bbff-9697cf24916e" providerId="ADAL" clId="{23289557-7985-4239-BC74-DE8CAD1D0FFB}" dt="2026-05-27T07:59:53.907" v="1819" actId="465"/>
          <ac:grpSpMkLst>
            <pc:docMk/>
            <pc:sldMk cId="2754943028" sldId="277"/>
            <ac:grpSpMk id="121" creationId="{B212E298-94AF-B1C3-5D1E-37B4185D1C6E}"/>
          </ac:grpSpMkLst>
        </pc:grpChg>
        <pc:grpChg chg="add mod">
          <ac:chgData name="Elena Reisert" userId="c1e9515a-c702-427f-bbff-9697cf24916e" providerId="ADAL" clId="{23289557-7985-4239-BC74-DE8CAD1D0FFB}" dt="2026-05-27T07:59:14.292" v="1800" actId="1076"/>
          <ac:grpSpMkLst>
            <pc:docMk/>
            <pc:sldMk cId="2754943028" sldId="277"/>
            <ac:grpSpMk id="122" creationId="{F73BBBBA-4329-DDE7-2C59-CF35C6EA93AE}"/>
          </ac:grpSpMkLst>
        </pc:grpChg>
        <pc:graphicFrameChg chg="add del mod modGraphic">
          <ac:chgData name="Elena Reisert" userId="c1e9515a-c702-427f-bbff-9697cf24916e" providerId="ADAL" clId="{23289557-7985-4239-BC74-DE8CAD1D0FFB}" dt="2026-05-27T07:56:35.324" v="1754" actId="478"/>
          <ac:graphicFrameMkLst>
            <pc:docMk/>
            <pc:sldMk cId="2754943028" sldId="277"/>
            <ac:graphicFrameMk id="8" creationId="{D25A6A96-BDB6-ADA1-2CDE-7BF6830D444A}"/>
          </ac:graphicFrameMkLst>
        </pc:graphicFrameChg>
        <pc:picChg chg="mod">
          <ac:chgData name="Elena Reisert" userId="c1e9515a-c702-427f-bbff-9697cf24916e" providerId="ADAL" clId="{23289557-7985-4239-BC74-DE8CAD1D0FFB}" dt="2026-05-27T07:13:55.539" v="79" actId="1076"/>
          <ac:picMkLst>
            <pc:docMk/>
            <pc:sldMk cId="2754943028" sldId="277"/>
            <ac:picMk id="78" creationId="{B6C74436-AB4A-6FA0-AE67-7FB906A95610}"/>
          </ac:picMkLst>
        </pc:picChg>
        <pc:cxnChg chg="mod">
          <ac:chgData name="Elena Reisert" userId="c1e9515a-c702-427f-bbff-9697cf24916e" providerId="ADAL" clId="{23289557-7985-4239-BC74-DE8CAD1D0FFB}" dt="2026-05-27T07:13:50.621" v="78" actId="14100"/>
          <ac:cxnSpMkLst>
            <pc:docMk/>
            <pc:sldMk cId="2754943028" sldId="277"/>
            <ac:cxnSpMk id="56" creationId="{89063137-CD69-D5FB-F8CB-F2DD74FFF78A}"/>
          </ac:cxnSpMkLst>
        </pc:cxnChg>
        <pc:cxnChg chg="mod">
          <ac:chgData name="Elena Reisert" userId="c1e9515a-c702-427f-bbff-9697cf24916e" providerId="ADAL" clId="{23289557-7985-4239-BC74-DE8CAD1D0FFB}" dt="2026-05-27T07:18:01.748" v="161" actId="208"/>
          <ac:cxnSpMkLst>
            <pc:docMk/>
            <pc:sldMk cId="2754943028" sldId="277"/>
            <ac:cxnSpMk id="83" creationId="{3693A6EC-79A4-1E67-B281-CD8BD7DC5B7F}"/>
          </ac:cxnSpMkLst>
        </pc:cxnChg>
        <pc:cxnChg chg="mod">
          <ac:chgData name="Elena Reisert" userId="c1e9515a-c702-427f-bbff-9697cf24916e" providerId="ADAL" clId="{23289557-7985-4239-BC74-DE8CAD1D0FFB}" dt="2026-05-27T07:14:27.431" v="126" actId="208"/>
          <ac:cxnSpMkLst>
            <pc:docMk/>
            <pc:sldMk cId="2754943028" sldId="277"/>
            <ac:cxnSpMk id="87" creationId="{452C1B66-C15F-542C-BEBB-147FA28FADC6}"/>
          </ac:cxnSpMkLst>
        </pc:cxnChg>
        <pc:cxnChg chg="mod">
          <ac:chgData name="Elena Reisert" userId="c1e9515a-c702-427f-bbff-9697cf24916e" providerId="ADAL" clId="{23289557-7985-4239-BC74-DE8CAD1D0FFB}" dt="2026-05-27T07:14:27.431" v="128" actId="208"/>
          <ac:cxnSpMkLst>
            <pc:docMk/>
            <pc:sldMk cId="2754943028" sldId="277"/>
            <ac:cxnSpMk id="88" creationId="{E67CB7FD-7875-BBBF-01F1-61BCAD0D1A68}"/>
          </ac:cxnSpMkLst>
        </pc:cxnChg>
        <pc:cxnChg chg="mod">
          <ac:chgData name="Elena Reisert" userId="c1e9515a-c702-427f-bbff-9697cf24916e" providerId="ADAL" clId="{23289557-7985-4239-BC74-DE8CAD1D0FFB}" dt="2026-05-27T07:14:27.431" v="114" actId="208"/>
          <ac:cxnSpMkLst>
            <pc:docMk/>
            <pc:sldMk cId="2754943028" sldId="277"/>
            <ac:cxnSpMk id="93" creationId="{F3F252B7-21BA-3539-575B-35F76BC7171B}"/>
          </ac:cxnSpMkLst>
        </pc:cxnChg>
        <pc:cxnChg chg="mod">
          <ac:chgData name="Elena Reisert" userId="c1e9515a-c702-427f-bbff-9697cf24916e" providerId="ADAL" clId="{23289557-7985-4239-BC74-DE8CAD1D0FFB}" dt="2026-05-27T07:14:27.431" v="120" actId="208"/>
          <ac:cxnSpMkLst>
            <pc:docMk/>
            <pc:sldMk cId="2754943028" sldId="277"/>
            <ac:cxnSpMk id="99" creationId="{88AFCC9D-BE92-EEA8-8A67-F4C5BE0DD9D6}"/>
          </ac:cxnSpMkLst>
        </pc:cxnChg>
      </pc:sldChg>
      <pc:sldChg chg="add del">
        <pc:chgData name="Elena Reisert" userId="c1e9515a-c702-427f-bbff-9697cf24916e" providerId="ADAL" clId="{23289557-7985-4239-BC74-DE8CAD1D0FFB}" dt="2026-05-27T08:05:22.081" v="1887" actId="47"/>
        <pc:sldMkLst>
          <pc:docMk/>
          <pc:sldMk cId="1719483202" sldId="297"/>
        </pc:sldMkLst>
      </pc:sldChg>
      <pc:sldChg chg="add">
        <pc:chgData name="Elena Reisert" userId="c1e9515a-c702-427f-bbff-9697cf24916e" providerId="ADAL" clId="{23289557-7985-4239-BC74-DE8CAD1D0FFB}" dt="2026-05-27T07:09:11.908" v="1"/>
        <pc:sldMkLst>
          <pc:docMk/>
          <pc:sldMk cId="3897767119" sldId="1221"/>
        </pc:sldMkLst>
      </pc:sldChg>
      <pc:sldChg chg="addSp delSp modSp add mod">
        <pc:chgData name="Elena Reisert" userId="c1e9515a-c702-427f-bbff-9697cf24916e" providerId="ADAL" clId="{23289557-7985-4239-BC74-DE8CAD1D0FFB}" dt="2026-05-27T08:12:39.843" v="2023" actId="113"/>
        <pc:sldMkLst>
          <pc:docMk/>
          <pc:sldMk cId="3559699387" sldId="1222"/>
        </pc:sldMkLst>
        <pc:spChg chg="mod">
          <ac:chgData name="Elena Reisert" userId="c1e9515a-c702-427f-bbff-9697cf24916e" providerId="ADAL" clId="{23289557-7985-4239-BC74-DE8CAD1D0FFB}" dt="2026-05-27T08:12:39.843" v="2023" actId="113"/>
          <ac:spMkLst>
            <pc:docMk/>
            <pc:sldMk cId="3559699387" sldId="1222"/>
            <ac:spMk id="4" creationId="{8674DA8A-6961-EC6B-A721-4F36CB94E9F1}"/>
          </ac:spMkLst>
        </pc:spChg>
        <pc:spChg chg="add del mod">
          <ac:chgData name="Elena Reisert" userId="c1e9515a-c702-427f-bbff-9697cf24916e" providerId="ADAL" clId="{23289557-7985-4239-BC74-DE8CAD1D0FFB}" dt="2026-05-27T08:07:05.524" v="1891" actId="478"/>
          <ac:spMkLst>
            <pc:docMk/>
            <pc:sldMk cId="3559699387" sldId="1222"/>
            <ac:spMk id="6" creationId="{E5921DB5-B4F1-D764-BCC2-E9FD3FF25F57}"/>
          </ac:spMkLst>
        </pc:spChg>
        <pc:spChg chg="add del mod">
          <ac:chgData name="Elena Reisert" userId="c1e9515a-c702-427f-bbff-9697cf24916e" providerId="ADAL" clId="{23289557-7985-4239-BC74-DE8CAD1D0FFB}" dt="2026-05-27T08:10:11.955" v="1969" actId="478"/>
          <ac:spMkLst>
            <pc:docMk/>
            <pc:sldMk cId="3559699387" sldId="1222"/>
            <ac:spMk id="7" creationId="{63C14CE4-B573-4714-4572-AF026649AA16}"/>
          </ac:spMkLst>
        </pc:spChg>
      </pc:sldChg>
      <pc:sldChg chg="del">
        <pc:chgData name="Elena Reisert" userId="c1e9515a-c702-427f-bbff-9697cf24916e" providerId="ADAL" clId="{23289557-7985-4239-BC74-DE8CAD1D0FFB}" dt="2026-05-27T08:03:50.508" v="1884" actId="47"/>
        <pc:sldMkLst>
          <pc:docMk/>
          <pc:sldMk cId="2036023894" sldId="2147378227"/>
        </pc:sldMkLst>
      </pc:sldChg>
      <pc:sldChg chg="add del">
        <pc:chgData name="Elena Reisert" userId="c1e9515a-c702-427f-bbff-9697cf24916e" providerId="ADAL" clId="{23289557-7985-4239-BC74-DE8CAD1D0FFB}" dt="2026-05-27T08:05:22.081" v="1887" actId="47"/>
        <pc:sldMkLst>
          <pc:docMk/>
          <pc:sldMk cId="1692453171" sldId="2147483645"/>
        </pc:sldMkLst>
      </pc:sldChg>
      <pc:sldChg chg="add del">
        <pc:chgData name="Elena Reisert" userId="c1e9515a-c702-427f-bbff-9697cf24916e" providerId="ADAL" clId="{23289557-7985-4239-BC74-DE8CAD1D0FFB}" dt="2026-05-27T08:05:22.081" v="1887" actId="47"/>
        <pc:sldMkLst>
          <pc:docMk/>
          <pc:sldMk cId="2131063455" sldId="2147483646"/>
        </pc:sldMkLst>
      </pc:sldChg>
      <pc:sldChg chg="add del">
        <pc:chgData name="Elena Reisert" userId="c1e9515a-c702-427f-bbff-9697cf24916e" providerId="ADAL" clId="{23289557-7985-4239-BC74-DE8CAD1D0FFB}" dt="2026-05-27T08:05:22.081" v="1887" actId="47"/>
        <pc:sldMkLst>
          <pc:docMk/>
          <pc:sldMk cId="1001229880" sldId="2147483647"/>
        </pc:sldMkLst>
      </pc:sldChg>
      <pc:sldMasterChg chg="delSldLayout">
        <pc:chgData name="Elena Reisert" userId="c1e9515a-c702-427f-bbff-9697cf24916e" providerId="ADAL" clId="{23289557-7985-4239-BC74-DE8CAD1D0FFB}" dt="2026-05-27T08:05:22.081" v="1887" actId="47"/>
        <pc:sldMasterMkLst>
          <pc:docMk/>
          <pc:sldMasterMk cId="1564836385" sldId="2147483648"/>
        </pc:sldMasterMkLst>
        <pc:sldLayoutChg chg="del">
          <pc:chgData name="Elena Reisert" userId="c1e9515a-c702-427f-bbff-9697cf24916e" providerId="ADAL" clId="{23289557-7985-4239-BC74-DE8CAD1D0FFB}" dt="2026-05-27T08:05:06.614" v="1886" actId="47"/>
          <pc:sldLayoutMkLst>
            <pc:docMk/>
            <pc:sldMasterMk cId="1564836385" sldId="2147483648"/>
            <pc:sldLayoutMk cId="1109108879" sldId="2147483693"/>
          </pc:sldLayoutMkLst>
        </pc:sldLayoutChg>
        <pc:sldLayoutChg chg="del">
          <pc:chgData name="Elena Reisert" userId="c1e9515a-c702-427f-bbff-9697cf24916e" providerId="ADAL" clId="{23289557-7985-4239-BC74-DE8CAD1D0FFB}" dt="2026-05-27T08:05:06.614" v="1886" actId="47"/>
          <pc:sldLayoutMkLst>
            <pc:docMk/>
            <pc:sldMasterMk cId="1564836385" sldId="2147483648"/>
            <pc:sldLayoutMk cId="446061605" sldId="2147483694"/>
          </pc:sldLayoutMkLst>
        </pc:sldLayoutChg>
        <pc:sldLayoutChg chg="del">
          <pc:chgData name="Elena Reisert" userId="c1e9515a-c702-427f-bbff-9697cf24916e" providerId="ADAL" clId="{23289557-7985-4239-BC74-DE8CAD1D0FFB}" dt="2026-05-27T08:05:06.614" v="1886" actId="47"/>
          <pc:sldLayoutMkLst>
            <pc:docMk/>
            <pc:sldMasterMk cId="1564836385" sldId="2147483648"/>
            <pc:sldLayoutMk cId="1588627517" sldId="2147483695"/>
          </pc:sldLayoutMkLst>
        </pc:sldLayoutChg>
        <pc:sldLayoutChg chg="del">
          <pc:chgData name="Elena Reisert" userId="c1e9515a-c702-427f-bbff-9697cf24916e" providerId="ADAL" clId="{23289557-7985-4239-BC74-DE8CAD1D0FFB}" dt="2026-05-27T08:05:06.614" v="1886" actId="47"/>
          <pc:sldLayoutMkLst>
            <pc:docMk/>
            <pc:sldMasterMk cId="1564836385" sldId="2147483648"/>
            <pc:sldLayoutMk cId="1113115795" sldId="2147483696"/>
          </pc:sldLayoutMkLst>
        </pc:sldLayoutChg>
        <pc:sldLayoutChg chg="del">
          <pc:chgData name="Elena Reisert" userId="c1e9515a-c702-427f-bbff-9697cf24916e" providerId="ADAL" clId="{23289557-7985-4239-BC74-DE8CAD1D0FFB}" dt="2026-05-27T08:05:06.614" v="1886" actId="47"/>
          <pc:sldLayoutMkLst>
            <pc:docMk/>
            <pc:sldMasterMk cId="1564836385" sldId="2147483648"/>
            <pc:sldLayoutMk cId="756357127" sldId="2147483697"/>
          </pc:sldLayoutMkLst>
        </pc:sldLayoutChg>
        <pc:sldLayoutChg chg="del">
          <pc:chgData name="Elena Reisert" userId="c1e9515a-c702-427f-bbff-9697cf24916e" providerId="ADAL" clId="{23289557-7985-4239-BC74-DE8CAD1D0FFB}" dt="2026-05-27T08:05:06.614" v="1886" actId="47"/>
          <pc:sldLayoutMkLst>
            <pc:docMk/>
            <pc:sldMasterMk cId="1564836385" sldId="2147483648"/>
            <pc:sldLayoutMk cId="2388009385" sldId="2147483698"/>
          </pc:sldLayoutMkLst>
        </pc:sldLayoutChg>
        <pc:sldLayoutChg chg="del">
          <pc:chgData name="Elena Reisert" userId="c1e9515a-c702-427f-bbff-9697cf24916e" providerId="ADAL" clId="{23289557-7985-4239-BC74-DE8CAD1D0FFB}" dt="2026-05-27T08:05:06.614" v="1886" actId="47"/>
          <pc:sldLayoutMkLst>
            <pc:docMk/>
            <pc:sldMasterMk cId="1564836385" sldId="2147483648"/>
            <pc:sldLayoutMk cId="3625737248" sldId="2147483699"/>
          </pc:sldLayoutMkLst>
        </pc:sldLayoutChg>
        <pc:sldLayoutChg chg="del">
          <pc:chgData name="Elena Reisert" userId="c1e9515a-c702-427f-bbff-9697cf24916e" providerId="ADAL" clId="{23289557-7985-4239-BC74-DE8CAD1D0FFB}" dt="2026-05-27T08:05:06.614" v="1886" actId="47"/>
          <pc:sldLayoutMkLst>
            <pc:docMk/>
            <pc:sldMasterMk cId="1564836385" sldId="2147483648"/>
            <pc:sldLayoutMk cId="41625082" sldId="2147483700"/>
          </pc:sldLayoutMkLst>
        </pc:sldLayoutChg>
        <pc:sldLayoutChg chg="del">
          <pc:chgData name="Elena Reisert" userId="c1e9515a-c702-427f-bbff-9697cf24916e" providerId="ADAL" clId="{23289557-7985-4239-BC74-DE8CAD1D0FFB}" dt="2026-05-27T08:05:22.081" v="1887" actId="47"/>
          <pc:sldLayoutMkLst>
            <pc:docMk/>
            <pc:sldMasterMk cId="1564836385" sldId="2147483648"/>
            <pc:sldLayoutMk cId="4091607229" sldId="2147483701"/>
          </pc:sldLayoutMkLst>
        </pc:sldLayoutChg>
        <pc:sldLayoutChg chg="del">
          <pc:chgData name="Elena Reisert" userId="c1e9515a-c702-427f-bbff-9697cf24916e" providerId="ADAL" clId="{23289557-7985-4239-BC74-DE8CAD1D0FFB}" dt="2026-05-27T08:05:22.081" v="1887" actId="47"/>
          <pc:sldLayoutMkLst>
            <pc:docMk/>
            <pc:sldMasterMk cId="1564836385" sldId="2147483648"/>
            <pc:sldLayoutMk cId="3836261942" sldId="2147483702"/>
          </pc:sldLayoutMkLst>
        </pc:sldLayoutChg>
        <pc:sldLayoutChg chg="del">
          <pc:chgData name="Elena Reisert" userId="c1e9515a-c702-427f-bbff-9697cf24916e" providerId="ADAL" clId="{23289557-7985-4239-BC74-DE8CAD1D0FFB}" dt="2026-05-27T08:05:22.081" v="1887" actId="47"/>
          <pc:sldLayoutMkLst>
            <pc:docMk/>
            <pc:sldMasterMk cId="1564836385" sldId="2147483648"/>
            <pc:sldLayoutMk cId="4251287024" sldId="2147483703"/>
          </pc:sldLayoutMkLst>
        </pc:sldLayoutChg>
        <pc:sldLayoutChg chg="del">
          <pc:chgData name="Elena Reisert" userId="c1e9515a-c702-427f-bbff-9697cf24916e" providerId="ADAL" clId="{23289557-7985-4239-BC74-DE8CAD1D0FFB}" dt="2026-05-27T08:05:22.081" v="1887" actId="47"/>
          <pc:sldLayoutMkLst>
            <pc:docMk/>
            <pc:sldMasterMk cId="1564836385" sldId="2147483648"/>
            <pc:sldLayoutMk cId="2449534900" sldId="2147483704"/>
          </pc:sldLayoutMkLst>
        </pc:sldLayoutChg>
        <pc:sldLayoutChg chg="del">
          <pc:chgData name="Elena Reisert" userId="c1e9515a-c702-427f-bbff-9697cf24916e" providerId="ADAL" clId="{23289557-7985-4239-BC74-DE8CAD1D0FFB}" dt="2026-05-27T08:05:22.081" v="1887" actId="47"/>
          <pc:sldLayoutMkLst>
            <pc:docMk/>
            <pc:sldMasterMk cId="1564836385" sldId="2147483648"/>
            <pc:sldLayoutMk cId="4230491165" sldId="2147483707"/>
          </pc:sldLayoutMkLst>
        </pc:sldLayoutChg>
        <pc:sldLayoutChg chg="del">
          <pc:chgData name="Elena Reisert" userId="c1e9515a-c702-427f-bbff-9697cf24916e" providerId="ADAL" clId="{23289557-7985-4239-BC74-DE8CAD1D0FFB}" dt="2026-05-27T08:05:06.614" v="1886" actId="47"/>
          <pc:sldLayoutMkLst>
            <pc:docMk/>
            <pc:sldMasterMk cId="1564836385" sldId="2147483648"/>
            <pc:sldLayoutMk cId="3815697166" sldId="2147483708"/>
          </pc:sldLayoutMkLst>
        </pc:sldLayoutChg>
        <pc:sldLayoutChg chg="del">
          <pc:chgData name="Elena Reisert" userId="c1e9515a-c702-427f-bbff-9697cf24916e" providerId="ADAL" clId="{23289557-7985-4239-BC74-DE8CAD1D0FFB}" dt="2026-05-27T08:03:50.508" v="1884" actId="47"/>
          <pc:sldLayoutMkLst>
            <pc:docMk/>
            <pc:sldMasterMk cId="1564836385" sldId="2147483648"/>
            <pc:sldLayoutMk cId="3591292912" sldId="2147483709"/>
          </pc:sldLayoutMkLst>
        </pc:sldLayoutChg>
      </pc:sldMasterChg>
    </pc:docChg>
  </pc:docChgLst>
  <pc:docChgLst>
    <pc:chgData name="Panten, Jan-Arne" userId="1650233d-8fdb-4f4f-8ba7-9df40211b8ef" providerId="ADAL" clId="{65CFC615-E761-4AD1-83C4-ABB5FA00F984}"/>
    <pc:docChg chg="modSld">
      <pc:chgData name="Panten, Jan-Arne" userId="1650233d-8fdb-4f4f-8ba7-9df40211b8ef" providerId="ADAL" clId="{65CFC615-E761-4AD1-83C4-ABB5FA00F984}" dt="2026-05-27T10:57:49.166" v="4" actId="14100"/>
      <pc:docMkLst>
        <pc:docMk/>
      </pc:docMkLst>
      <pc:sldChg chg="modSp mod">
        <pc:chgData name="Panten, Jan-Arne" userId="1650233d-8fdb-4f4f-8ba7-9df40211b8ef" providerId="ADAL" clId="{65CFC615-E761-4AD1-83C4-ABB5FA00F984}" dt="2026-05-27T10:57:49.166" v="4" actId="14100"/>
        <pc:sldMkLst>
          <pc:docMk/>
          <pc:sldMk cId="2888952152" sldId="273"/>
        </pc:sldMkLst>
        <pc:spChg chg="mod">
          <ac:chgData name="Panten, Jan-Arne" userId="1650233d-8fdb-4f4f-8ba7-9df40211b8ef" providerId="ADAL" clId="{65CFC615-E761-4AD1-83C4-ABB5FA00F984}" dt="2026-05-27T10:55:56.404" v="0" actId="20577"/>
          <ac:spMkLst>
            <pc:docMk/>
            <pc:sldMk cId="2888952152" sldId="273"/>
            <ac:spMk id="29" creationId="{B42037FC-5019-8DA6-7B97-02B2DAAF9679}"/>
          </ac:spMkLst>
        </pc:spChg>
        <pc:spChg chg="mod">
          <ac:chgData name="Panten, Jan-Arne" userId="1650233d-8fdb-4f4f-8ba7-9df40211b8ef" providerId="ADAL" clId="{65CFC615-E761-4AD1-83C4-ABB5FA00F984}" dt="2026-05-27T10:57:49.166" v="4" actId="14100"/>
          <ac:spMkLst>
            <pc:docMk/>
            <pc:sldMk cId="2888952152" sldId="273"/>
            <ac:spMk id="30" creationId="{AC861D9F-4E69-0171-F59D-6C5322F43E76}"/>
          </ac:spMkLst>
        </pc:spChg>
      </pc:sldChg>
    </pc:docChg>
  </pc:docChgLst>
  <pc:docChgLst>
    <pc:chgData name="Panten, Jan-Arne" userId="S::j61965@eon.com::1650233d-8fdb-4f4f-8ba7-9df40211b8ef" providerId="AD" clId="Web-{8361C885-DB4F-33AE-2ADD-D798F6A4A0FC}"/>
    <pc:docChg chg="modSld">
      <pc:chgData name="Panten, Jan-Arne" userId="S::j61965@eon.com::1650233d-8fdb-4f4f-8ba7-9df40211b8ef" providerId="AD" clId="Web-{8361C885-DB4F-33AE-2ADD-D798F6A4A0FC}" dt="2026-05-27T10:52:05.430" v="12" actId="20577"/>
      <pc:docMkLst>
        <pc:docMk/>
      </pc:docMkLst>
      <pc:sldChg chg="modSp">
        <pc:chgData name="Panten, Jan-Arne" userId="S::j61965@eon.com::1650233d-8fdb-4f4f-8ba7-9df40211b8ef" providerId="AD" clId="Web-{8361C885-DB4F-33AE-2ADD-D798F6A4A0FC}" dt="2026-05-27T10:52:05.430" v="12" actId="20577"/>
        <pc:sldMkLst>
          <pc:docMk/>
          <pc:sldMk cId="3559699387" sldId="1222"/>
        </pc:sldMkLst>
        <pc:spChg chg="mod">
          <ac:chgData name="Panten, Jan-Arne" userId="S::j61965@eon.com::1650233d-8fdb-4f4f-8ba7-9df40211b8ef" providerId="AD" clId="Web-{8361C885-DB4F-33AE-2ADD-D798F6A4A0FC}" dt="2026-05-27T10:52:05.430" v="12" actId="20577"/>
          <ac:spMkLst>
            <pc:docMk/>
            <pc:sldMk cId="3559699387" sldId="1222"/>
            <ac:spMk id="4" creationId="{8674DA8A-6961-EC6B-A721-4F36CB94E9F1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EFD2B531-8577-2F64-305C-360F80654C0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114986-4538-51AA-B9AA-A763AFCB58A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B92B2C-F1E8-48FB-971C-CF4C864BEA85}" type="datetimeFigureOut">
              <a:rPr lang="de-DE"/>
              <a:t>27.05.2026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A891068-4E98-1719-9C02-8BCB2020AA6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D4CE93F-6000-6946-CCEE-2DEFA389BCA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39A880-F026-4702-89F7-31F9F3B7E304}" type="slidenum">
              <a:rPr lang="de-DE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8788720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FD5401-A79D-436F-83A2-90647C635B0D}" type="datetimeFigureOut">
              <a:rPr lang="de-DE"/>
              <a:t>27.05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0180B2-B33A-4FBB-A079-46854FA41266}" type="slidenum">
              <a:rPr lang="de-DE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78303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0180B2-B33A-4FBB-A079-46854FA41266}" type="slidenum">
              <a:rPr lang="de-DE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70760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noProof="0"/>
              <a:t>Start BEE Studie zur Überbauung </a:t>
            </a:r>
            <a:r>
              <a:rPr lang="de-DE" noProof="0">
                <a:sym typeface="Wingdings" panose="05000000000000000000" pitchFamily="2" charset="2"/>
              </a:rPr>
              <a:t>(2. Halbjahr 2024): Besonderheit SH Netz: Wind-Dominierte Einspeisung, daher eher in Ausnahmefällen statisch präventive Flexibilisierung möglich, in der Regel mindestens regelbasierte betriebsbedingte Einschränkung erforderlic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noProof="0"/>
          </a:p>
          <a:p>
            <a:r>
              <a:rPr lang="de-DE" noProof="0"/>
              <a:t> </a:t>
            </a:r>
            <a:r>
              <a:rPr lang="de-DE" noProof="0">
                <a:sym typeface="Wingdings" panose="05000000000000000000" pitchFamily="2" charset="2"/>
              </a:rPr>
              <a:t> erste Piloten gesucht und partnerschaftlich entwickelt (2. Halbjahr 2024)  Systemanpassungen ausgelöst, aber die individuelle Einzelfallbetrachtung war sehr aufwändig und zäh neben dem üblichen Tagesgeschäft (musste alles neu erarbeitet werden bei gleichzeitiger Antragsflut)  Standardprodukt erforderlich, mehr Geschwindigkeit, dafür Projekt in 2026 gestartet</a:t>
            </a:r>
          </a:p>
          <a:p>
            <a:endParaRPr lang="de-DE" noProof="0">
              <a:sym typeface="Wingdings" panose="05000000000000000000" pitchFamily="2" charset="2"/>
            </a:endParaRPr>
          </a:p>
          <a:p>
            <a:r>
              <a:rPr lang="de-DE" noProof="0">
                <a:sym typeface="Wingdings" panose="05000000000000000000" pitchFamily="2" charset="2"/>
              </a:rPr>
              <a:t>Erste Erfahrungen auch mit </a:t>
            </a:r>
            <a:r>
              <a:rPr lang="de-DE" noProof="0" err="1">
                <a:sym typeface="Wingdings" panose="05000000000000000000" pitchFamily="2" charset="2"/>
              </a:rPr>
              <a:t>Bollingstedt</a:t>
            </a:r>
            <a:r>
              <a:rPr lang="de-DE" noProof="0">
                <a:sym typeface="Wingdings" panose="05000000000000000000" pitchFamily="2" charset="2"/>
              </a:rPr>
              <a:t> gemacht und Schritt für Schritt gemeinsam mit dem Anlagenbetreiber die Betriebseinschränkungen verfeinert, um Wirtschaftlichkeit und zugleich sicheren Netzbetrieb zu erreich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6B8A3F-1797-49E5-A203-80986749C6E7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14641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8702C6-1975-2045-6309-F95B06EA24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E42CC17F-0B89-B353-8813-B6FED19627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D059E49F-6125-DA38-F0F1-0588DF3BEAB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$8 Gesamtwirtschaftlich </a:t>
            </a:r>
            <a:r>
              <a:rPr lang="en-GB" err="1"/>
              <a:t>günstigster</a:t>
            </a:r>
            <a:r>
              <a:rPr lang="en-GB"/>
              <a:t> NVP</a:t>
            </a:r>
          </a:p>
          <a:p>
            <a:r>
              <a:rPr lang="en-GB"/>
              <a:t>FCA Kunden </a:t>
            </a:r>
            <a:r>
              <a:rPr lang="en-GB" err="1"/>
              <a:t>sind</a:t>
            </a:r>
            <a:r>
              <a:rPr lang="en-GB"/>
              <a:t> in </a:t>
            </a:r>
            <a:r>
              <a:rPr lang="en-GB" err="1"/>
              <a:t>einem</a:t>
            </a:r>
            <a:r>
              <a:rPr lang="en-GB"/>
              <a:t> </a:t>
            </a:r>
            <a:r>
              <a:rPr lang="en-GB" err="1"/>
              <a:t>Engpassgebiet</a:t>
            </a:r>
            <a:r>
              <a:rPr lang="en-GB"/>
              <a:t>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D489E96-7906-BC37-8368-F388AD7823F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A09262-308E-1D48-BC4B-6D74CF31D61D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05735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49A615-30CD-BA61-DF5B-AF3B91B7EB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806E31F-AC77-22A3-7BF1-62B07B5CC1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B26C8CC-5270-F4A5-3D22-1253398C42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736D317-1B9A-9E15-B97A-2EE6A2D777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6B8A3F-1797-49E5-A203-80986749C6E7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97226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Auch wenn man vorweg läuft, wollen die Kunden trotzdem mehr </a:t>
            </a:r>
            <a:r>
              <a:rPr lang="de-DE">
                <a:sym typeface="Wingdings" panose="05000000000000000000" pitchFamily="2" charset="2"/>
              </a:rPr>
              <a:t> weckt Erwartungshaltung</a:t>
            </a:r>
            <a:endParaRPr lang="de-DE"/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6B8A3F-1797-49E5-A203-80986749C6E7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32670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4.sv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sv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4.svg"/><Relationship Id="rId5" Type="http://schemas.openxmlformats.org/officeDocument/2006/relationships/image" Target="../media/image11.svg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4.svg"/><Relationship Id="rId5" Type="http://schemas.openxmlformats.org/officeDocument/2006/relationships/image" Target="../media/image12.svg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.svg"/><Relationship Id="rId5" Type="http://schemas.openxmlformats.org/officeDocument/2006/relationships/image" Target="../media/image5.svg"/><Relationship Id="rId4" Type="http://schemas.openxmlformats.org/officeDocument/2006/relationships/image" Target="../media/image2.sv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4.svg"/><Relationship Id="rId5" Type="http://schemas.openxmlformats.org/officeDocument/2006/relationships/image" Target="../media/image14.svg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4.svg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52.xml"/><Relationship Id="rId7" Type="http://schemas.openxmlformats.org/officeDocument/2006/relationships/image" Target="../media/image15.sv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3.svg"/><Relationship Id="rId5" Type="http://schemas.openxmlformats.org/officeDocument/2006/relationships/image" Target="../media/image14.sv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4.svg"/><Relationship Id="rId5" Type="http://schemas.openxmlformats.org/officeDocument/2006/relationships/image" Target="../media/image6.svg"/><Relationship Id="rId4" Type="http://schemas.openxmlformats.org/officeDocument/2006/relationships/image" Target="../media/image2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4.svg"/><Relationship Id="rId5" Type="http://schemas.openxmlformats.org/officeDocument/2006/relationships/image" Target="../media/image5.svg"/><Relationship Id="rId4" Type="http://schemas.openxmlformats.org/officeDocument/2006/relationships/image" Target="../media/image14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4.svg"/><Relationship Id="rId5" Type="http://schemas.openxmlformats.org/officeDocument/2006/relationships/image" Target="../media/image6.svg"/><Relationship Id="rId4" Type="http://schemas.openxmlformats.org/officeDocument/2006/relationships/image" Target="../media/image14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4.svg"/><Relationship Id="rId5" Type="http://schemas.openxmlformats.org/officeDocument/2006/relationships/image" Target="../media/image7.svg"/><Relationship Id="rId4" Type="http://schemas.openxmlformats.org/officeDocument/2006/relationships/image" Target="../media/image14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4.svg"/><Relationship Id="rId5" Type="http://schemas.openxmlformats.org/officeDocument/2006/relationships/image" Target="../media/image8.svg"/><Relationship Id="rId4" Type="http://schemas.openxmlformats.org/officeDocument/2006/relationships/image" Target="../media/image14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4.svg"/><Relationship Id="rId5" Type="http://schemas.openxmlformats.org/officeDocument/2006/relationships/image" Target="../media/image9.svg"/><Relationship Id="rId4" Type="http://schemas.openxmlformats.org/officeDocument/2006/relationships/image" Target="../media/image14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4.svg"/><Relationship Id="rId5" Type="http://schemas.openxmlformats.org/officeDocument/2006/relationships/image" Target="../media/image10.svg"/><Relationship Id="rId4" Type="http://schemas.openxmlformats.org/officeDocument/2006/relationships/image" Target="../media/image14.sv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4.svg"/><Relationship Id="rId5" Type="http://schemas.openxmlformats.org/officeDocument/2006/relationships/image" Target="../media/image7.svg"/><Relationship Id="rId4" Type="http://schemas.openxmlformats.org/officeDocument/2006/relationships/image" Target="../media/image2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4.svg"/><Relationship Id="rId5" Type="http://schemas.openxmlformats.org/officeDocument/2006/relationships/image" Target="../media/image8.svg"/><Relationship Id="rId4" Type="http://schemas.openxmlformats.org/officeDocument/2006/relationships/image" Target="../media/image2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4.svg"/><Relationship Id="rId5" Type="http://schemas.openxmlformats.org/officeDocument/2006/relationships/image" Target="../media/image9.svg"/><Relationship Id="rId4" Type="http://schemas.openxmlformats.org/officeDocument/2006/relationships/image" Target="../media/image2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4.svg"/><Relationship Id="rId5" Type="http://schemas.openxmlformats.org/officeDocument/2006/relationships/image" Target="../media/image10.svg"/><Relationship Id="rId4" Type="http://schemas.openxmlformats.org/officeDocument/2006/relationships/image" Target="../media/image2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image" Target="../media/image4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4" Type="http://schemas.openxmlformats.org/officeDocument/2006/relationships/image" Target="../media/image4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HanseWe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906CD45-4BD7-7662-2BD1-F6F6802246AB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92BD8F7-1C8B-BE3B-9D15-75595C01DD58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E14B87A5-DF5B-4A73-AB6B-3A3DBBF8F7F0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9" name="SHAPE blau">
            <a:extLst>
              <a:ext uri="{FF2B5EF4-FFF2-40B4-BE49-F238E27FC236}">
                <a16:creationId xmlns:a16="http://schemas.microsoft.com/office/drawing/2014/main" id="{2EEF008A-BBC0-2501-DB82-88EEC5765B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spcAft>
                <a:spcPts val="400"/>
              </a:spcAft>
            </a:pPr>
            <a:endParaRPr lang="de-DE" sz="1600"/>
          </a:p>
        </p:txBody>
      </p:sp>
      <p:pic>
        <p:nvPicPr>
          <p:cNvPr id="8" name="DECO Supergrafik 2">
            <a:extLst>
              <a:ext uri="{FF2B5EF4-FFF2-40B4-BE49-F238E27FC236}">
                <a16:creationId xmlns:a16="http://schemas.microsoft.com/office/drawing/2014/main" id="{F7D9285E-892A-B76A-C781-5B179F3CF6D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6177" t="1563" b="1723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LOGO">
            <a:extLst>
              <a:ext uri="{FF2B5EF4-FFF2-40B4-BE49-F238E27FC236}">
                <a16:creationId xmlns:a16="http://schemas.microsoft.com/office/drawing/2014/main" id="{BDC1FB09-9878-A4DF-BA65-3AAAA84120A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44372" y="5337212"/>
            <a:ext cx="2401370" cy="1224000"/>
          </a:xfrm>
          <a:prstGeom prst="rect">
            <a:avLst/>
          </a:prstGeom>
        </p:spPr>
      </p:pic>
      <p:sp>
        <p:nvSpPr>
          <p:cNvPr id="3" name="Untertitel">
            <a:extLst>
              <a:ext uri="{FF2B5EF4-FFF2-40B4-BE49-F238E27FC236}">
                <a16:creationId xmlns:a16="http://schemas.microsoft.com/office/drawing/2014/main" id="{EBFF5A12-9B86-06E6-5D0E-381EF8FF1D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5" y="2493000"/>
            <a:ext cx="6912000" cy="936000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F28519F1-D514-3057-1CD6-A1BF132B38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5325" y="672677"/>
            <a:ext cx="7884951" cy="1661993"/>
          </a:xfrm>
        </p:spPr>
        <p:txBody>
          <a:bodyPr anchor="b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D94B3DB8-ABD6-305C-0CBA-8B2CE43FEA4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3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A1D5FA62-8D8F-D40F-BCE2-18219D53A7D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F1668ACD-0814-6DC7-FA64-C294DFB4ACE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0" cy="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10000"/>
              </a:lnSpc>
              <a:spcAft>
                <a:spcPts val="400"/>
              </a:spcAft>
            </a:pPr>
            <a:endParaRPr lang="de-DE" sz="1600" err="1"/>
          </a:p>
        </p:txBody>
      </p:sp>
    </p:spTree>
    <p:extLst>
      <p:ext uri="{BB962C8B-B14F-4D97-AF65-F5344CB8AC3E}">
        <p14:creationId xmlns:p14="http://schemas.microsoft.com/office/powerpoint/2010/main" val="1703170385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 mit N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F06EC67-97FB-6CDA-E176-7488E27535DC}"/>
              </a:ext>
            </a:extLst>
          </p:cNvPr>
          <p:cNvSpPr>
            <a:spLocks noGrp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 sz="10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D8F187-3A2D-6183-5951-7FE376A5F6A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E14B87A5-DF5B-4A73-AB6B-3A3DBBF8F7F0}" type="slidenum">
              <a:rPr lang="de-DE"/>
              <a:pPr/>
              <a:t>‹Nr.›</a:t>
            </a:fld>
            <a:endParaRPr lang="de-DE" sz="100"/>
          </a:p>
        </p:txBody>
      </p:sp>
      <p:sp>
        <p:nvSpPr>
          <p:cNvPr id="2" name="SHAPE blau">
            <a:extLst>
              <a:ext uri="{FF2B5EF4-FFF2-40B4-BE49-F238E27FC236}">
                <a16:creationId xmlns:a16="http://schemas.microsoft.com/office/drawing/2014/main" id="{CD63B28D-C916-72D8-DA01-BABAB4CDBBA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spcAft>
                <a:spcPts val="400"/>
              </a:spcAft>
            </a:pPr>
            <a:endParaRPr lang="de-DE" sz="1600"/>
          </a:p>
        </p:txBody>
      </p:sp>
      <p:pic>
        <p:nvPicPr>
          <p:cNvPr id="19" name="DECO Supergrafik 1">
            <a:extLst>
              <a:ext uri="{FF2B5EF4-FFF2-40B4-BE49-F238E27FC236}">
                <a16:creationId xmlns:a16="http://schemas.microsoft.com/office/drawing/2014/main" id="{A7B8F7B3-E0FF-D1BA-DAAD-95559428933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7810" r="36648" b="5722"/>
          <a:stretch>
            <a:fillRect/>
          </a:stretch>
        </p:blipFill>
        <p:spPr>
          <a:xfrm rot="20748300">
            <a:off x="3606569" y="-514368"/>
            <a:ext cx="9352406" cy="8232361"/>
          </a:xfrm>
          <a:custGeom>
            <a:avLst/>
            <a:gdLst>
              <a:gd name="csX0" fmla="*/ 3091158 w 9352406"/>
              <a:gd name="csY0" fmla="*/ 0 h 8232361"/>
              <a:gd name="csX1" fmla="*/ 9352406 w 9352406"/>
              <a:gd name="csY1" fmla="*/ 1583759 h 8232361"/>
              <a:gd name="csX2" fmla="*/ 7670669 w 9352406"/>
              <a:gd name="csY2" fmla="*/ 8232361 h 8232361"/>
              <a:gd name="csX3" fmla="*/ 1 w 9352406"/>
              <a:gd name="csY3" fmla="*/ 6292096 h 8232361"/>
              <a:gd name="csX4" fmla="*/ 0 w 9352406"/>
              <a:gd name="csY4" fmla="*/ 0 h 823236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9352406" h="8232361">
                <a:moveTo>
                  <a:pt x="3091158" y="0"/>
                </a:moveTo>
                <a:lnTo>
                  <a:pt x="9352406" y="1583759"/>
                </a:lnTo>
                <a:lnTo>
                  <a:pt x="7670669" y="8232361"/>
                </a:lnTo>
                <a:lnTo>
                  <a:pt x="1" y="6292096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13" name="Textplatzhalter">
            <a:extLst>
              <a:ext uri="{FF2B5EF4-FFF2-40B4-BE49-F238E27FC236}">
                <a16:creationId xmlns:a16="http://schemas.microsoft.com/office/drawing/2014/main" id="{62B179CC-B8B1-2C79-4C97-AB66EC4680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5324" y="3140390"/>
            <a:ext cx="6480000" cy="2123658"/>
          </a:xfrm>
        </p:spPr>
        <p:txBody>
          <a:bodyPr lIns="72000" anchor="t">
            <a:noAutofit/>
          </a:bodyPr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NR">
            <a:extLst>
              <a:ext uri="{FF2B5EF4-FFF2-40B4-BE49-F238E27FC236}">
                <a16:creationId xmlns:a16="http://schemas.microsoft.com/office/drawing/2014/main" id="{79FBB8B4-09DB-3537-955D-24CA16CB30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1016732"/>
            <a:ext cx="2378857" cy="2123658"/>
          </a:xfrm>
        </p:spPr>
        <p:txBody>
          <a:bodyPr wrap="none" anchor="b">
            <a:noAutofit/>
          </a:bodyPr>
          <a:lstStyle>
            <a:lvl1pPr algn="l">
              <a:defRPr sz="13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NR</a:t>
            </a:r>
          </a:p>
        </p:txBody>
      </p:sp>
      <p:pic>
        <p:nvPicPr>
          <p:cNvPr id="8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54B2C70D-F437-23CE-F891-114685B9EC0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9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E72A7253-9356-A795-44CB-EC9C2C53957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4" name="MIO_Placeholder_Mapping" hidden="1">
            <a:extLst>
              <a:ext uri="{FF2B5EF4-FFF2-40B4-BE49-F238E27FC236}">
                <a16:creationId xmlns:a16="http://schemas.microsoft.com/office/drawing/2014/main" id="{172300A2-DC2E-D3DD-3D5B-EACFE4B52D1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0" cy="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10000"/>
              </a:lnSpc>
              <a:spcAft>
                <a:spcPts val="400"/>
              </a:spcAft>
            </a:pPr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1628616589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 ohne N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F06EC67-97FB-6CDA-E176-7488E27535DC}"/>
              </a:ext>
            </a:extLst>
          </p:cNvPr>
          <p:cNvSpPr>
            <a:spLocks noGrp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 sz="10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D8F187-3A2D-6183-5951-7FE376A5F6A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E14B87A5-DF5B-4A73-AB6B-3A3DBBF8F7F0}" type="slidenum">
              <a:rPr lang="de-DE"/>
              <a:pPr/>
              <a:t>‹Nr.›</a:t>
            </a:fld>
            <a:endParaRPr lang="de-DE" sz="100"/>
          </a:p>
        </p:txBody>
      </p:sp>
      <p:sp>
        <p:nvSpPr>
          <p:cNvPr id="2" name="SHAPE blau">
            <a:extLst>
              <a:ext uri="{FF2B5EF4-FFF2-40B4-BE49-F238E27FC236}">
                <a16:creationId xmlns:a16="http://schemas.microsoft.com/office/drawing/2014/main" id="{CD63B28D-C916-72D8-DA01-BABAB4CDBBA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spcAft>
                <a:spcPts val="400"/>
              </a:spcAft>
            </a:pPr>
            <a:endParaRPr lang="de-DE" sz="1600"/>
          </a:p>
        </p:txBody>
      </p:sp>
      <p:pic>
        <p:nvPicPr>
          <p:cNvPr id="6" name="DECO Supergrafik 4">
            <a:extLst>
              <a:ext uri="{FF2B5EF4-FFF2-40B4-BE49-F238E27FC236}">
                <a16:creationId xmlns:a16="http://schemas.microsoft.com/office/drawing/2014/main" id="{17D92DF8-1E7F-1576-03E4-C3EC4CC9861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2232" b="36711"/>
          <a:stretch>
            <a:fillRect/>
          </a:stretch>
        </p:blipFill>
        <p:spPr>
          <a:xfrm>
            <a:off x="-2" y="244887"/>
            <a:ext cx="12195190" cy="6613113"/>
          </a:xfrm>
          <a:custGeom>
            <a:avLst/>
            <a:gdLst>
              <a:gd name="csX0" fmla="*/ 0 w 12195190"/>
              <a:gd name="csY0" fmla="*/ 0 h 6613113"/>
              <a:gd name="csX1" fmla="*/ 12195190 w 12195190"/>
              <a:gd name="csY1" fmla="*/ 0 h 6613113"/>
              <a:gd name="csX2" fmla="*/ 12195190 w 12195190"/>
              <a:gd name="csY2" fmla="*/ 6613113 h 6613113"/>
              <a:gd name="csX3" fmla="*/ 0 w 12195190"/>
              <a:gd name="csY3" fmla="*/ 6613113 h 661311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12195190" h="6613113">
                <a:moveTo>
                  <a:pt x="0" y="0"/>
                </a:moveTo>
                <a:lnTo>
                  <a:pt x="12195190" y="0"/>
                </a:lnTo>
                <a:lnTo>
                  <a:pt x="12195190" y="6613113"/>
                </a:lnTo>
                <a:lnTo>
                  <a:pt x="0" y="6613113"/>
                </a:lnTo>
                <a:close/>
              </a:path>
            </a:pathLst>
          </a:custGeom>
        </p:spPr>
      </p:pic>
      <p:sp>
        <p:nvSpPr>
          <p:cNvPr id="13" name="Textplatzhalter">
            <a:extLst>
              <a:ext uri="{FF2B5EF4-FFF2-40B4-BE49-F238E27FC236}">
                <a16:creationId xmlns:a16="http://schemas.microsoft.com/office/drawing/2014/main" id="{62B179CC-B8B1-2C79-4C97-AB66EC4680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5324" y="1321532"/>
            <a:ext cx="6480000" cy="2123658"/>
          </a:xfrm>
        </p:spPr>
        <p:txBody>
          <a:bodyPr lIns="72000" anchor="t">
            <a:noAutofit/>
          </a:bodyPr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8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F0A9E58E-42A1-415D-C14E-99D16FC9FFD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0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B2AFD276-9CE0-2B82-23FD-6365F74BFB8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4" name="MIO_Placeholder_Mapping" hidden="1">
            <a:extLst>
              <a:ext uri="{FF2B5EF4-FFF2-40B4-BE49-F238E27FC236}">
                <a16:creationId xmlns:a16="http://schemas.microsoft.com/office/drawing/2014/main" id="{39DB3047-78C5-4F3B-50A1-9A80D2D64AA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0" cy="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10000"/>
              </a:lnSpc>
              <a:spcAft>
                <a:spcPts val="400"/>
              </a:spcAft>
            </a:pPr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1508711515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>
            <a:extLst>
              <a:ext uri="{FF2B5EF4-FFF2-40B4-BE49-F238E27FC236}">
                <a16:creationId xmlns:a16="http://schemas.microsoft.com/office/drawing/2014/main" id="{18D2FB14-2BA0-19EF-84A9-B16F7D8AA1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MIO_CONVERT_SLIDES_SUBTITLE">
            <a:extLst>
              <a:ext uri="{FF2B5EF4-FFF2-40B4-BE49-F238E27FC236}">
                <a16:creationId xmlns:a16="http://schemas.microsoft.com/office/drawing/2014/main" id="{F0E6D450-55E7-9916-1DD9-F536B1D237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6001" y="345637"/>
            <a:ext cx="10800000" cy="180000"/>
          </a:xfrm>
        </p:spPr>
        <p:txBody>
          <a:bodyPr anchor="ctr"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27D407A6-7C72-ED59-4AFF-8390EA4B870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E5D52B6-05E2-E0B1-B541-C9837283EEB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14B87A5-DF5B-4A73-AB6B-3A3DBBF8F7F0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D4AAF2B-E188-0A37-6833-E3ECB02D137B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0" cy="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10000"/>
              </a:lnSpc>
              <a:spcAft>
                <a:spcPts val="400"/>
              </a:spcAft>
            </a:pPr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260458184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1117" userDrawn="1">
          <p15:clr>
            <a:srgbClr val="FBAE40"/>
          </p15:clr>
        </p15:guide>
        <p15:guide id="2" orient="horz" pos="3748" userDrawn="1">
          <p15:clr>
            <a:srgbClr val="FBAE40"/>
          </p15:clr>
        </p15:guide>
        <p15:guide id="3" pos="438" userDrawn="1">
          <p15:clr>
            <a:srgbClr val="FBAE40"/>
          </p15:clr>
        </p15:guide>
        <p15:guide id="4" pos="7242" userDrawn="1">
          <p15:clr>
            <a:srgbClr val="FBAE40"/>
          </p15:clr>
        </p15:guide>
        <p15:guide id="5" pos="5881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mit N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DECO NetzPunkteElement">
            <a:extLst>
              <a:ext uri="{FF2B5EF4-FFF2-40B4-BE49-F238E27FC236}">
                <a16:creationId xmlns:a16="http://schemas.microsoft.com/office/drawing/2014/main" id="{6751A66F-22B3-6FBC-4FDA-FD92C40C261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6128" r="10280"/>
          <a:stretch>
            <a:fillRect/>
          </a:stretch>
        </p:blipFill>
        <p:spPr>
          <a:xfrm>
            <a:off x="8161800" y="0"/>
            <a:ext cx="4033388" cy="3320968"/>
          </a:xfrm>
          <a:custGeom>
            <a:avLst/>
            <a:gdLst>
              <a:gd name="csX0" fmla="*/ 0 w 4033388"/>
              <a:gd name="csY0" fmla="*/ 0 h 3320968"/>
              <a:gd name="csX1" fmla="*/ 4033388 w 4033388"/>
              <a:gd name="csY1" fmla="*/ 0 h 3320968"/>
              <a:gd name="csX2" fmla="*/ 4033388 w 4033388"/>
              <a:gd name="csY2" fmla="*/ 3320968 h 3320968"/>
              <a:gd name="csX3" fmla="*/ 0 w 4033388"/>
              <a:gd name="csY3" fmla="*/ 3320968 h 332096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4033388" h="3320968">
                <a:moveTo>
                  <a:pt x="0" y="0"/>
                </a:moveTo>
                <a:lnTo>
                  <a:pt x="4033388" y="0"/>
                </a:lnTo>
                <a:lnTo>
                  <a:pt x="4033388" y="3320968"/>
                </a:lnTo>
                <a:lnTo>
                  <a:pt x="0" y="3320968"/>
                </a:lnTo>
                <a:close/>
              </a:path>
            </a:pathLst>
          </a:custGeom>
        </p:spPr>
      </p:pic>
      <p:sp>
        <p:nvSpPr>
          <p:cNvPr id="2" name="Titel">
            <a:extLst>
              <a:ext uri="{FF2B5EF4-FFF2-40B4-BE49-F238E27FC236}">
                <a16:creationId xmlns:a16="http://schemas.microsoft.com/office/drawing/2014/main" id="{18D2FB14-2BA0-19EF-84A9-B16F7D8AA1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001" y="656874"/>
            <a:ext cx="7199999" cy="756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MIO_CONVERT_SLIDES_SUBTITLE">
            <a:extLst>
              <a:ext uri="{FF2B5EF4-FFF2-40B4-BE49-F238E27FC236}">
                <a16:creationId xmlns:a16="http://schemas.microsoft.com/office/drawing/2014/main" id="{CA50FE58-1A15-19E3-93D5-FBC543A603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6001" y="345637"/>
            <a:ext cx="7199999" cy="180000"/>
          </a:xfrm>
        </p:spPr>
        <p:txBody>
          <a:bodyPr wrap="none" anchor="ctr"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7409E7ED-C6AB-CD49-FBA2-8D25FB6EE00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45EFEFE4-C352-17D8-C593-E646D17FDE9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14B87A5-DF5B-4A73-AB6B-3A3DBBF8F7F0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96FB317F-AAA9-FD36-BF0C-55EBF45B920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0" cy="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10000"/>
              </a:lnSpc>
              <a:spcAft>
                <a:spcPts val="400"/>
              </a:spcAft>
            </a:pPr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245236122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1117" userDrawn="1">
          <p15:clr>
            <a:srgbClr val="FBAE40"/>
          </p15:clr>
        </p15:guide>
        <p15:guide id="2" orient="horz" pos="3748" userDrawn="1">
          <p15:clr>
            <a:srgbClr val="FBAE40"/>
          </p15:clr>
        </p15:guide>
        <p15:guide id="3" pos="438" userDrawn="1">
          <p15:clr>
            <a:srgbClr val="FBAE40"/>
          </p15:clr>
        </p15:guide>
        <p15:guide id="4" pos="7242" userDrawn="1">
          <p15:clr>
            <a:srgbClr val="FBAE40"/>
          </p15:clr>
        </p15:guide>
        <p15:guide id="5" pos="5881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ext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">
            <a:extLst>
              <a:ext uri="{FF2B5EF4-FFF2-40B4-BE49-F238E27FC236}">
                <a16:creationId xmlns:a16="http://schemas.microsoft.com/office/drawing/2014/main" id="{A346289B-2605-936B-4BF9-E79164B66A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6000" y="1773237"/>
            <a:ext cx="8640000" cy="4176000"/>
          </a:xfrm>
        </p:spPr>
        <p:txBody>
          <a:bodyPr/>
          <a:lstStyle>
            <a:lvl1pPr marL="230400" indent="-23040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460800">
              <a:buClr>
                <a:schemeClr val="bg2"/>
              </a:buClr>
              <a:defRPr sz="1400"/>
            </a:lvl2pPr>
            <a:lvl3pPr marL="691200">
              <a:buClr>
                <a:schemeClr val="bg2"/>
              </a:buClr>
              <a:defRPr sz="1200"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6E6A25C-B6BC-438B-A77E-A86AEAFF74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001" y="656874"/>
            <a:ext cx="10800000" cy="756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MIO_CONVERT_SLIDES_SUBTITLE">
            <a:extLst>
              <a:ext uri="{FF2B5EF4-FFF2-40B4-BE49-F238E27FC236}">
                <a16:creationId xmlns:a16="http://schemas.microsoft.com/office/drawing/2014/main" id="{3734B77E-52DB-A83D-AE2A-B7ACDDD20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6001" y="345637"/>
            <a:ext cx="10800000" cy="180000"/>
          </a:xfrm>
        </p:spPr>
        <p:txBody>
          <a:bodyPr anchor="ctr"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2319C0B-EA0E-A1C0-E2C5-4052FED1C25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3BB0700-8725-2343-9D15-6520343C38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14B87A5-DF5B-4A73-AB6B-3A3DBBF8F7F0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054690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881" userDrawn="1">
          <p15:clr>
            <a:srgbClr val="FBAE40"/>
          </p15:clr>
        </p15:guide>
        <p15:guide id="2" orient="horz" pos="1117" userDrawn="1">
          <p15:clr>
            <a:srgbClr val="FBAE40"/>
          </p15:clr>
        </p15:guide>
        <p15:guide id="3" orient="horz" pos="3748" userDrawn="1">
          <p15:clr>
            <a:srgbClr val="FBAE40"/>
          </p15:clr>
        </p15:guide>
        <p15:guide id="4" pos="438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ext (Zahl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">
            <a:extLst>
              <a:ext uri="{FF2B5EF4-FFF2-40B4-BE49-F238E27FC236}">
                <a16:creationId xmlns:a16="http://schemas.microsoft.com/office/drawing/2014/main" id="{A346289B-2605-936B-4BF9-E79164B66A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6000" y="1773237"/>
            <a:ext cx="8640000" cy="4176000"/>
          </a:xfrm>
        </p:spPr>
        <p:txBody>
          <a:bodyPr/>
          <a:lstStyle>
            <a:lvl1pPr marL="342000" indent="-342000">
              <a:buClr>
                <a:schemeClr val="bg2"/>
              </a:buClr>
              <a:buFont typeface="+mj-lt"/>
              <a:buAutoNum type="arabicPeriod"/>
              <a:defRPr/>
            </a:lvl1pPr>
            <a:lvl2pPr marL="684000" indent="-342000">
              <a:buClr>
                <a:schemeClr val="bg2"/>
              </a:buClr>
              <a:buFont typeface="+mj-lt"/>
              <a:buAutoNum type="arabicPeriod"/>
              <a:defRPr sz="1400"/>
            </a:lvl2pPr>
            <a:lvl3pPr marL="1026000" indent="-342000">
              <a:buClr>
                <a:schemeClr val="bg2"/>
              </a:buClr>
              <a:buFont typeface="+mj-lt"/>
              <a:buAutoNum type="arabicPeriod"/>
              <a:defRPr sz="1200"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6E6A25C-B6BC-438B-A77E-A86AEAFF74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001" y="656874"/>
            <a:ext cx="10800000" cy="756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MIO_CONVERT_SLIDES_SUBTITLE">
            <a:extLst>
              <a:ext uri="{FF2B5EF4-FFF2-40B4-BE49-F238E27FC236}">
                <a16:creationId xmlns:a16="http://schemas.microsoft.com/office/drawing/2014/main" id="{3734B77E-52DB-A83D-AE2A-B7ACDDD20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6001" y="345637"/>
            <a:ext cx="10800000" cy="180000"/>
          </a:xfrm>
        </p:spPr>
        <p:txBody>
          <a:bodyPr anchor="ctr"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B5910FC-97C8-CD46-D765-7981B5CF3C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5B74A85-C02E-D630-EA41-D5C64AFBCE3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14B87A5-DF5B-4A73-AB6B-3A3DBBF8F7F0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282601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1117" userDrawn="1">
          <p15:clr>
            <a:srgbClr val="FBAE40"/>
          </p15:clr>
        </p15:guide>
        <p15:guide id="2" orient="horz" pos="3748" userDrawn="1">
          <p15:clr>
            <a:srgbClr val="FBAE40"/>
          </p15:clr>
        </p15:guide>
        <p15:guide id="3" pos="438" userDrawn="1">
          <p15:clr>
            <a:srgbClr val="FBAE40"/>
          </p15:clr>
        </p15:guide>
        <p15:guide id="4" pos="5881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">
            <a:extLst>
              <a:ext uri="{FF2B5EF4-FFF2-40B4-BE49-F238E27FC236}">
                <a16:creationId xmlns:a16="http://schemas.microsoft.com/office/drawing/2014/main" id="{C4EAE032-D24C-7B32-E220-07CDE94773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6E6A25C-B6BC-438B-A77E-A86AEAFF74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001" y="656874"/>
            <a:ext cx="10800000" cy="756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MIO_CONVERT_SLIDES_SUBTITLE">
            <a:extLst>
              <a:ext uri="{FF2B5EF4-FFF2-40B4-BE49-F238E27FC236}">
                <a16:creationId xmlns:a16="http://schemas.microsoft.com/office/drawing/2014/main" id="{3734B77E-52DB-A83D-AE2A-B7ACDDD20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6001" y="345637"/>
            <a:ext cx="10800000" cy="180000"/>
          </a:xfrm>
        </p:spPr>
        <p:txBody>
          <a:bodyPr anchor="ctr"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3D712609-01E0-D0B2-B21B-516AD5A7E8A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B0912D6-6B93-243E-CE38-5402AC413A2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14B87A5-DF5B-4A73-AB6B-3A3DBBF8F7F0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4" name="MIO_Placeholder_Mapping" hidden="1">
            <a:extLst>
              <a:ext uri="{FF2B5EF4-FFF2-40B4-BE49-F238E27FC236}">
                <a16:creationId xmlns:a16="http://schemas.microsoft.com/office/drawing/2014/main" id="{3929925B-5124-CD92-47E8-9A44EB29331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0" cy="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10000"/>
              </a:lnSpc>
              <a:spcAft>
                <a:spcPts val="400"/>
              </a:spcAft>
            </a:pPr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306715369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1117" userDrawn="1">
          <p15:clr>
            <a:srgbClr val="FBAE40"/>
          </p15:clr>
        </p15:guide>
        <p15:guide id="2" orient="horz" pos="3748" userDrawn="1">
          <p15:clr>
            <a:srgbClr val="FBAE40"/>
          </p15:clr>
        </p15:guide>
        <p15:guide id="3" pos="7242" userDrawn="1">
          <p15:clr>
            <a:srgbClr val="FBAE40"/>
          </p15:clr>
        </p15:guide>
        <p15:guide id="4" pos="438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rechts">
            <a:extLst>
              <a:ext uri="{FF2B5EF4-FFF2-40B4-BE49-F238E27FC236}">
                <a16:creationId xmlns:a16="http://schemas.microsoft.com/office/drawing/2014/main" id="{5E5843BA-A4BC-C394-81B6-73E3334D3AC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66000" y="1773237"/>
            <a:ext cx="5129999" cy="417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links">
            <a:extLst>
              <a:ext uri="{FF2B5EF4-FFF2-40B4-BE49-F238E27FC236}">
                <a16:creationId xmlns:a16="http://schemas.microsoft.com/office/drawing/2014/main" id="{C4EAE032-D24C-7B32-E220-07CDE94773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6001" y="1773237"/>
            <a:ext cx="5129999" cy="417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6E6A25C-B6BC-438B-A77E-A86AEAFF74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001" y="656874"/>
            <a:ext cx="10800000" cy="756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MIO_CONVERT_SLIDES_SUBTITLE">
            <a:extLst>
              <a:ext uri="{FF2B5EF4-FFF2-40B4-BE49-F238E27FC236}">
                <a16:creationId xmlns:a16="http://schemas.microsoft.com/office/drawing/2014/main" id="{3734B77E-52DB-A83D-AE2A-B7ACDDD20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6001" y="345637"/>
            <a:ext cx="10800000" cy="180000"/>
          </a:xfrm>
        </p:spPr>
        <p:txBody>
          <a:bodyPr anchor="ctr"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6551CAE0-288B-8A79-2B9B-7500F760ED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18E42E7-AD81-FA40-DAD6-3BD01D332F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14B87A5-DF5B-4A73-AB6B-3A3DBBF8F7F0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4" name="MIO_Placeholder_Mapping" hidden="1">
            <a:extLst>
              <a:ext uri="{FF2B5EF4-FFF2-40B4-BE49-F238E27FC236}">
                <a16:creationId xmlns:a16="http://schemas.microsoft.com/office/drawing/2014/main" id="{D60DB64E-B654-6D39-9F6F-05E9AB601E2B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0" cy="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10000"/>
              </a:lnSpc>
              <a:spcAft>
                <a:spcPts val="400"/>
              </a:spcAft>
            </a:pPr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192597315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1117" userDrawn="1">
          <p15:clr>
            <a:srgbClr val="FBAE40"/>
          </p15:clr>
        </p15:guide>
        <p15:guide id="2" orient="horz" pos="3748" userDrawn="1">
          <p15:clr>
            <a:srgbClr val="FBAE40"/>
          </p15:clr>
        </p15:guide>
        <p15:guide id="3" pos="7242" userDrawn="1">
          <p15:clr>
            <a:srgbClr val="FBAE40"/>
          </p15:clr>
        </p15:guide>
        <p15:guide id="4" pos="438" userDrawn="1">
          <p15:clr>
            <a:srgbClr val="FBAE40"/>
          </p15:clr>
        </p15:guide>
        <p15:guide id="5" pos="4011" userDrawn="1">
          <p15:clr>
            <a:srgbClr val="FBAE40"/>
          </p15:clr>
        </p15:guide>
        <p15:guide id="6" pos="3669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rechts">
            <a:extLst>
              <a:ext uri="{FF2B5EF4-FFF2-40B4-BE49-F238E27FC236}">
                <a16:creationId xmlns:a16="http://schemas.microsoft.com/office/drawing/2014/main" id="{70EC9BB9-CE4D-76EA-334E-05F869EFE02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256001" y="1773237"/>
            <a:ext cx="3240000" cy="417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Inhaltsplatzhalter mitte">
            <a:extLst>
              <a:ext uri="{FF2B5EF4-FFF2-40B4-BE49-F238E27FC236}">
                <a16:creationId xmlns:a16="http://schemas.microsoft.com/office/drawing/2014/main" id="{384BDA02-639F-A78A-F446-3322D0E02CFE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476001" y="1773237"/>
            <a:ext cx="3240000" cy="417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links">
            <a:extLst>
              <a:ext uri="{FF2B5EF4-FFF2-40B4-BE49-F238E27FC236}">
                <a16:creationId xmlns:a16="http://schemas.microsoft.com/office/drawing/2014/main" id="{C4EAE032-D24C-7B32-E220-07CDE94773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6001" y="1773237"/>
            <a:ext cx="3240000" cy="417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6E6A25C-B6BC-438B-A77E-A86AEAFF74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001" y="656874"/>
            <a:ext cx="10800000" cy="756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MIO_CONVERT_SLIDES_SUBTITLE">
            <a:extLst>
              <a:ext uri="{FF2B5EF4-FFF2-40B4-BE49-F238E27FC236}">
                <a16:creationId xmlns:a16="http://schemas.microsoft.com/office/drawing/2014/main" id="{3734B77E-52DB-A83D-AE2A-B7ACDDD20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6001" y="345637"/>
            <a:ext cx="10800000" cy="180000"/>
          </a:xfrm>
        </p:spPr>
        <p:txBody>
          <a:bodyPr anchor="ctr"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6FD4F83-8678-20CA-89E4-E9DFB44A0F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9CDBFA9E-78EC-A01D-D015-02F7771853C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14B87A5-DF5B-4A73-AB6B-3A3DBBF8F7F0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4" name="MIO_Placeholder_Mapping" hidden="1">
            <a:extLst>
              <a:ext uri="{FF2B5EF4-FFF2-40B4-BE49-F238E27FC236}">
                <a16:creationId xmlns:a16="http://schemas.microsoft.com/office/drawing/2014/main" id="{C4AEF771-CFB0-C5F6-659C-7A1E7D0223F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0" cy="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10000"/>
              </a:lnSpc>
              <a:spcAft>
                <a:spcPts val="400"/>
              </a:spcAft>
            </a:pPr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127945407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1117" userDrawn="1">
          <p15:clr>
            <a:srgbClr val="FBAE40"/>
          </p15:clr>
        </p15:guide>
        <p15:guide id="2" orient="horz" pos="3748" userDrawn="1">
          <p15:clr>
            <a:srgbClr val="FBAE40"/>
          </p15:clr>
        </p15:guide>
        <p15:guide id="3" pos="7242" userDrawn="1">
          <p15:clr>
            <a:srgbClr val="FBAE40"/>
          </p15:clr>
        </p15:guide>
        <p15:guide id="4" pos="438" userDrawn="1">
          <p15:clr>
            <a:srgbClr val="FBAE40"/>
          </p15:clr>
        </p15:guide>
        <p15:guide id="5" pos="2819" userDrawn="1">
          <p15:clr>
            <a:srgbClr val="FBAE40"/>
          </p15:clr>
        </p15:guide>
        <p15:guide id="6" pos="2479" userDrawn="1">
          <p15:clr>
            <a:srgbClr val="FBAE40"/>
          </p15:clr>
        </p15:guide>
        <p15:guide id="7" pos="4861" userDrawn="1">
          <p15:clr>
            <a:srgbClr val="FBAE40"/>
          </p15:clr>
        </p15:guide>
        <p15:guide id="8" pos="5201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rechts">
            <a:extLst>
              <a:ext uri="{FF2B5EF4-FFF2-40B4-BE49-F238E27FC236}">
                <a16:creationId xmlns:a16="http://schemas.microsoft.com/office/drawing/2014/main" id="{5E5843BA-A4BC-C394-81B6-73E3334D3AC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65999" y="2097236"/>
            <a:ext cx="5129999" cy="385271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links">
            <a:extLst>
              <a:ext uri="{FF2B5EF4-FFF2-40B4-BE49-F238E27FC236}">
                <a16:creationId xmlns:a16="http://schemas.microsoft.com/office/drawing/2014/main" id="{C4EAE032-D24C-7B32-E220-07CDE94773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6001" y="2097236"/>
            <a:ext cx="5129999" cy="385271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Textplatzhalter Subline rechts">
            <a:extLst>
              <a:ext uri="{FF2B5EF4-FFF2-40B4-BE49-F238E27FC236}">
                <a16:creationId xmlns:a16="http://schemas.microsoft.com/office/drawing/2014/main" id="{9D4007D4-D9C7-F819-617D-CFF8BCA7659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65999" y="1773238"/>
            <a:ext cx="5129999" cy="257186"/>
          </a:xfrm>
        </p:spPr>
        <p:txBody>
          <a:bodyPr>
            <a:noAutofit/>
          </a:bodyPr>
          <a:lstStyle>
            <a:lvl1pPr>
              <a:defRPr b="1">
                <a:latin typeface="Manrope" pitchFamily="2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Subline links">
            <a:extLst>
              <a:ext uri="{FF2B5EF4-FFF2-40B4-BE49-F238E27FC236}">
                <a16:creationId xmlns:a16="http://schemas.microsoft.com/office/drawing/2014/main" id="{D3B82D4A-167B-3651-0FE6-2EA081CA43D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6001" y="1773238"/>
            <a:ext cx="5129999" cy="257186"/>
          </a:xfrm>
        </p:spPr>
        <p:txBody>
          <a:bodyPr>
            <a:noAutofit/>
          </a:bodyPr>
          <a:lstStyle>
            <a:lvl1pPr>
              <a:defRPr b="1">
                <a:latin typeface="Manrope" pitchFamily="2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6E6A25C-B6BC-438B-A77E-A86AEAFF74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001" y="656874"/>
            <a:ext cx="10800000" cy="756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MIO_CONVERT_SLIDES_SUBTITLE">
            <a:extLst>
              <a:ext uri="{FF2B5EF4-FFF2-40B4-BE49-F238E27FC236}">
                <a16:creationId xmlns:a16="http://schemas.microsoft.com/office/drawing/2014/main" id="{3734B77E-52DB-A83D-AE2A-B7ACDDD20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6001" y="345637"/>
            <a:ext cx="10800000" cy="180000"/>
          </a:xfrm>
        </p:spPr>
        <p:txBody>
          <a:bodyPr anchor="ctr"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55E40B8B-8E8B-0DD4-3488-8FDE7458225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086361BA-EBBC-326E-3935-A65016C2A02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14B87A5-DF5B-4A73-AB6B-3A3DBBF8F7F0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4" name="MIO_Placeholder_Mapping" hidden="1">
            <a:extLst>
              <a:ext uri="{FF2B5EF4-FFF2-40B4-BE49-F238E27FC236}">
                <a16:creationId xmlns:a16="http://schemas.microsoft.com/office/drawing/2014/main" id="{43BB0A66-70E2-1226-63EF-F4795035EF8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0" cy="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10000"/>
              </a:lnSpc>
              <a:spcAft>
                <a:spcPts val="400"/>
              </a:spcAft>
            </a:pPr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153086420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671" userDrawn="1">
          <p15:clr>
            <a:srgbClr val="FBAE40"/>
          </p15:clr>
        </p15:guide>
        <p15:guide id="2" pos="4010" userDrawn="1">
          <p15:clr>
            <a:srgbClr val="FBAE40"/>
          </p15:clr>
        </p15:guide>
        <p15:guide id="3" orient="horz" pos="1117" userDrawn="1">
          <p15:clr>
            <a:srgbClr val="FBAE40"/>
          </p15:clr>
        </p15:guide>
        <p15:guide id="4" orient="horz" pos="3748" userDrawn="1">
          <p15:clr>
            <a:srgbClr val="FBAE40"/>
          </p15:clr>
        </p15:guide>
        <p15:guide id="5" pos="7242" userDrawn="1">
          <p15:clr>
            <a:srgbClr val="FBAE40"/>
          </p15:clr>
        </p15:guide>
        <p15:guide id="6" pos="43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SH Net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906CD45-4BD7-7662-2BD1-F6F6802246AB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92BD8F7-1C8B-BE3B-9D15-75595C01DD58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E14B87A5-DF5B-4A73-AB6B-3A3DBBF8F7F0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9" name="SHAPE blau">
            <a:extLst>
              <a:ext uri="{FF2B5EF4-FFF2-40B4-BE49-F238E27FC236}">
                <a16:creationId xmlns:a16="http://schemas.microsoft.com/office/drawing/2014/main" id="{2EEF008A-BBC0-2501-DB82-88EEC5765B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spcAft>
                <a:spcPts val="400"/>
              </a:spcAft>
            </a:pPr>
            <a:endParaRPr lang="de-DE" sz="1600"/>
          </a:p>
        </p:txBody>
      </p:sp>
      <p:pic>
        <p:nvPicPr>
          <p:cNvPr id="8" name="DECO Supergrafik 2">
            <a:extLst>
              <a:ext uri="{FF2B5EF4-FFF2-40B4-BE49-F238E27FC236}">
                <a16:creationId xmlns:a16="http://schemas.microsoft.com/office/drawing/2014/main" id="{F7D9285E-892A-B76A-C781-5B179F3CF6D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6177" t="1563" b="1723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LOGO">
            <a:extLst>
              <a:ext uri="{FF2B5EF4-FFF2-40B4-BE49-F238E27FC236}">
                <a16:creationId xmlns:a16="http://schemas.microsoft.com/office/drawing/2014/main" id="{210AF66C-F680-F702-9515-29879A650A7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16380" y="5049180"/>
            <a:ext cx="2326907" cy="1512000"/>
          </a:xfrm>
          <a:prstGeom prst="rect">
            <a:avLst/>
          </a:prstGeom>
        </p:spPr>
      </p:pic>
      <p:sp>
        <p:nvSpPr>
          <p:cNvPr id="3" name="Untertitel">
            <a:extLst>
              <a:ext uri="{FF2B5EF4-FFF2-40B4-BE49-F238E27FC236}">
                <a16:creationId xmlns:a16="http://schemas.microsoft.com/office/drawing/2014/main" id="{EBFF5A12-9B86-06E6-5D0E-381EF8FF1D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5" y="2493000"/>
            <a:ext cx="6912000" cy="936000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F28519F1-D514-3057-1CD6-A1BF132B38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5325" y="672677"/>
            <a:ext cx="7884951" cy="1661993"/>
          </a:xfrm>
        </p:spPr>
        <p:txBody>
          <a:bodyPr anchor="b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1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CD96616E-5CA4-C70D-5511-FD922F385F5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2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DCBF1017-F3FA-1906-B71E-0163122A707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133103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,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0014781-9CFD-45AF-E538-058699D28D2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37DAFE5-EC28-F60A-36E9-48125F0244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4B87A5-DF5B-4A73-AB6B-3A3DBBF8F7F0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6B9DB39D-5CE7-17ED-CBFB-F4D7DCD333B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0" cy="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10000"/>
              </a:lnSpc>
              <a:spcAft>
                <a:spcPts val="400"/>
              </a:spcAft>
            </a:pPr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156957945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1117" userDrawn="1">
          <p15:clr>
            <a:srgbClr val="FBAE40"/>
          </p15:clr>
        </p15:guide>
        <p15:guide id="2" orient="horz" pos="3748" userDrawn="1">
          <p15:clr>
            <a:srgbClr val="FBAE40"/>
          </p15:clr>
        </p15:guide>
        <p15:guide id="3" pos="7242" userDrawn="1">
          <p15:clr>
            <a:srgbClr val="FBAE40"/>
          </p15:clr>
        </p15:guide>
        <p15:guide id="4" pos="438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scha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F06EC67-97FB-6CDA-E176-7488E27535DC}"/>
              </a:ext>
            </a:extLst>
          </p:cNvPr>
          <p:cNvSpPr>
            <a:spLocks noGrp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D8F187-3A2D-6183-5951-7FE376A5F6A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E14B87A5-DF5B-4A73-AB6B-3A3DBBF8F7F0}" type="slidenum">
              <a:rPr lang="de-DE"/>
              <a:pPr/>
              <a:t>‹Nr.›</a:t>
            </a:fld>
            <a:endParaRPr lang="de-DE" sz="100"/>
          </a:p>
        </p:txBody>
      </p:sp>
      <p:sp>
        <p:nvSpPr>
          <p:cNvPr id="11" name="SHAPE blau">
            <a:extLst>
              <a:ext uri="{FF2B5EF4-FFF2-40B4-BE49-F238E27FC236}">
                <a16:creationId xmlns:a16="http://schemas.microsoft.com/office/drawing/2014/main" id="{F5D7D2A1-2361-63B6-BCBD-FED8EE63AA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spcAft>
                <a:spcPts val="400"/>
              </a:spcAft>
            </a:pPr>
            <a:endParaRPr lang="de-DE" sz="1600"/>
          </a:p>
        </p:txBody>
      </p:sp>
      <p:pic>
        <p:nvPicPr>
          <p:cNvPr id="22" name="DECO Supergrafik 6">
            <a:extLst>
              <a:ext uri="{FF2B5EF4-FFF2-40B4-BE49-F238E27FC236}">
                <a16:creationId xmlns:a16="http://schemas.microsoft.com/office/drawing/2014/main" id="{60B5493D-29AE-85E0-207A-22FD91348D4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r="25579" b="22957"/>
          <a:stretch>
            <a:fillRect/>
          </a:stretch>
        </p:blipFill>
        <p:spPr>
          <a:xfrm rot="20214030">
            <a:off x="952518" y="-84657"/>
            <a:ext cx="12238917" cy="7356818"/>
          </a:xfrm>
          <a:custGeom>
            <a:avLst/>
            <a:gdLst>
              <a:gd name="csX0" fmla="*/ 6655385 w 12238917"/>
              <a:gd name="csY0" fmla="*/ 0 h 7356818"/>
              <a:gd name="csX1" fmla="*/ 12238917 w 12238917"/>
              <a:gd name="csY1" fmla="*/ 2381521 h 7356818"/>
              <a:gd name="csX2" fmla="*/ 10116824 w 12238917"/>
              <a:gd name="csY2" fmla="*/ 7356818 h 7356818"/>
              <a:gd name="csX3" fmla="*/ 6423398 w 12238917"/>
              <a:gd name="csY3" fmla="*/ 7356818 h 7356818"/>
              <a:gd name="csX4" fmla="*/ 0 w 12238917"/>
              <a:gd name="csY4" fmla="*/ 4617073 h 7356818"/>
              <a:gd name="csX5" fmla="*/ 0 w 12238917"/>
              <a:gd name="csY5" fmla="*/ 0 h 735681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12238917" h="7356818">
                <a:moveTo>
                  <a:pt x="6655385" y="0"/>
                </a:moveTo>
                <a:lnTo>
                  <a:pt x="12238917" y="2381521"/>
                </a:lnTo>
                <a:lnTo>
                  <a:pt x="10116824" y="7356818"/>
                </a:lnTo>
                <a:lnTo>
                  <a:pt x="6423398" y="7356818"/>
                </a:lnTo>
                <a:lnTo>
                  <a:pt x="0" y="4617073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8" name="Textplatzhalter">
            <a:extLst>
              <a:ext uri="{FF2B5EF4-FFF2-40B4-BE49-F238E27FC236}">
                <a16:creationId xmlns:a16="http://schemas.microsoft.com/office/drawing/2014/main" id="{817564FD-55B5-42BE-D303-07E4CF1E46F7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>
          <a:xfrm>
            <a:off x="695324" y="1321532"/>
            <a:ext cx="5652000" cy="2880000"/>
          </a:xfrm>
        </p:spPr>
        <p:txBody>
          <a:bodyPr/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  <a:lvl2pPr algn="r">
              <a:buNone/>
              <a:defRPr>
                <a:solidFill>
                  <a:schemeClr val="bg1"/>
                </a:solidFill>
              </a:defRPr>
            </a:lvl2pPr>
            <a:lvl3pPr>
              <a:buNone/>
              <a:defRPr/>
            </a:lvl3pPr>
          </a:lstStyle>
          <a:p>
            <a:pPr lvl="0"/>
            <a:r>
              <a:rPr lang="en-US"/>
              <a:t>PowerPoint slides are like children: </a:t>
            </a:r>
            <a:br>
              <a:rPr lang="en-US"/>
            </a:br>
            <a:br>
              <a:rPr lang="en-US"/>
            </a:br>
            <a:r>
              <a:rPr lang="en-US"/>
              <a:t>No matter how ugly they are, you‘ll think they‘re beautiful if they‘re yours.</a:t>
            </a:r>
            <a:br>
              <a:rPr lang="en-US"/>
            </a:br>
            <a:br>
              <a:rPr lang="en-US"/>
            </a:br>
            <a:r>
              <a:rPr lang="en-US"/>
              <a:t>(Scott Adams)</a:t>
            </a:r>
            <a:endParaRPr lang="de-DE"/>
          </a:p>
        </p:txBody>
      </p:sp>
      <p:pic>
        <p:nvPicPr>
          <p:cNvPr id="23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5E635234-D05B-D362-238D-3A68E66A013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24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62DF455F-2C2A-368B-CE9E-EC4CAFEEC1E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2408734"/>
      </p:ext>
    </p:extLst>
  </p:cSld>
  <p:clrMapOvr>
    <a:masterClrMapping/>
  </p:clrMapOvr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schaf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HAPE weiß">
            <a:extLst>
              <a:ext uri="{FF2B5EF4-FFF2-40B4-BE49-F238E27FC236}">
                <a16:creationId xmlns:a16="http://schemas.microsoft.com/office/drawing/2014/main" id="{3F077847-4604-EA23-1628-AA1AFF4E7F2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spcAft>
                <a:spcPts val="400"/>
              </a:spcAft>
            </a:pPr>
            <a:endParaRPr lang="de-DE" sz="160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F93BF19-919A-7B9B-04B1-BA6880B072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696001" y="6489340"/>
            <a:ext cx="486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>
              <a:solidFill>
                <a:schemeClr val="tx1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BB0CFBC-C71D-1633-8B6A-FFE9D61DC921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>
              <a:defRPr sz="100">
                <a:noFill/>
              </a:defRPr>
            </a:lvl1pPr>
          </a:lstStyle>
          <a:p>
            <a:fld id="{E14B87A5-DF5B-4A73-AB6B-3A3DBBF8F7F0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32FD950-956F-A7D0-4DC2-8FC7EA3DA856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2"/>
            </p:custDataLst>
          </p:nvPr>
        </p:nvSpPr>
        <p:spPr>
          <a:xfrm>
            <a:off x="696001" y="1773238"/>
            <a:ext cx="4859995" cy="4176712"/>
          </a:xfrm>
        </p:spPr>
        <p:txBody>
          <a:bodyPr anchor="ctr"/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Bildplatzhalter">
            <a:extLst>
              <a:ext uri="{FF2B5EF4-FFF2-40B4-BE49-F238E27FC236}">
                <a16:creationId xmlns:a16="http://schemas.microsoft.com/office/drawing/2014/main" id="{ADE706FE-176F-0413-6B4B-892B65472D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rgbClr val="F6F3F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MIO_CONVERT_SLIDES_SUBTITLE">
            <a:extLst>
              <a:ext uri="{FF2B5EF4-FFF2-40B4-BE49-F238E27FC236}">
                <a16:creationId xmlns:a16="http://schemas.microsoft.com/office/drawing/2014/main" id="{3734B77E-52DB-A83D-AE2A-B7ACDDD20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6001" y="345637"/>
            <a:ext cx="4859995" cy="180000"/>
          </a:xfrm>
        </p:spPr>
        <p:txBody>
          <a:bodyPr anchor="ctr"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3960707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1117" userDrawn="1">
          <p15:clr>
            <a:srgbClr val="FBAE40"/>
          </p15:clr>
        </p15:guide>
        <p15:guide id="2" orient="horz" pos="3748" userDrawn="1">
          <p15:clr>
            <a:srgbClr val="FBAE40"/>
          </p15:clr>
        </p15:guide>
        <p15:guide id="3" pos="438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Bild (klei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APE weiß">
            <a:extLst>
              <a:ext uri="{FF2B5EF4-FFF2-40B4-BE49-F238E27FC236}">
                <a16:creationId xmlns:a16="http://schemas.microsoft.com/office/drawing/2014/main" id="{BDD493CD-161D-856B-A57A-AF690B3A650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spcAft>
                <a:spcPts val="400"/>
              </a:spcAft>
            </a:pPr>
            <a:endParaRPr lang="de-DE" sz="160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9FE292-D3C4-482D-F455-B4C1D8C71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1FABAC2-3BE1-6D0E-2E9D-1366E5A157D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E14B87A5-DF5B-4A73-AB6B-3A3DBBF8F7F0}" type="slidenum">
              <a:rPr lang="de-DE"/>
              <a:pPr/>
              <a:t>‹Nr.›</a:t>
            </a:fld>
            <a:endParaRPr lang="de-DE" sz="100"/>
          </a:p>
        </p:txBody>
      </p:sp>
      <p:sp>
        <p:nvSpPr>
          <p:cNvPr id="8" name="Bildplatzhalter">
            <a:extLst>
              <a:ext uri="{FF2B5EF4-FFF2-40B4-BE49-F238E27FC236}">
                <a16:creationId xmlns:a16="http://schemas.microsoft.com/office/drawing/2014/main" id="{ADE706FE-176F-0413-6B4B-892B65472D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977200" y="0"/>
            <a:ext cx="3214800" cy="6858000"/>
          </a:xfrm>
          <a:solidFill>
            <a:srgbClr val="F6F3F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3" name="Inhaltsplatzhalter">
            <a:extLst>
              <a:ext uri="{FF2B5EF4-FFF2-40B4-BE49-F238E27FC236}">
                <a16:creationId xmlns:a16="http://schemas.microsoft.com/office/drawing/2014/main" id="{C4EAE032-D24C-7B32-E220-07CDE94773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6000" y="1773238"/>
            <a:ext cx="7741199" cy="41767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6E6A25C-B6BC-438B-A77E-A86AEAFF74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001" y="656874"/>
            <a:ext cx="7741199" cy="756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MIO_CONVERT_SLIDES_SUBTITLE">
            <a:extLst>
              <a:ext uri="{FF2B5EF4-FFF2-40B4-BE49-F238E27FC236}">
                <a16:creationId xmlns:a16="http://schemas.microsoft.com/office/drawing/2014/main" id="{3734B77E-52DB-A83D-AE2A-B7ACDDD20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6001" y="345637"/>
            <a:ext cx="7741199" cy="180000"/>
          </a:xfrm>
        </p:spPr>
        <p:txBody>
          <a:bodyPr anchor="ctr"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2942540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1117" userDrawn="1">
          <p15:clr>
            <a:srgbClr val="FBAE40"/>
          </p15:clr>
        </p15:guide>
        <p15:guide id="2" orient="horz" pos="3748" userDrawn="1">
          <p15:clr>
            <a:srgbClr val="FBAE40"/>
          </p15:clr>
        </p15:guide>
        <p15:guide id="3" pos="5314" userDrawn="1">
          <p15:clr>
            <a:srgbClr val="FBAE40"/>
          </p15:clr>
        </p15:guide>
        <p15:guide id="4" pos="438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Bild (gro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APE weiß">
            <a:extLst>
              <a:ext uri="{FF2B5EF4-FFF2-40B4-BE49-F238E27FC236}">
                <a16:creationId xmlns:a16="http://schemas.microsoft.com/office/drawing/2014/main" id="{0999C0A4-D132-AB09-C0F1-3889D87D0E9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spcAft>
                <a:spcPts val="400"/>
              </a:spcAft>
            </a:pPr>
            <a:endParaRPr lang="de-DE" sz="160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9FE292-D3C4-482D-F455-B4C1D8C71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1FABAC2-3BE1-6D0E-2E9D-1366E5A157D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E14B87A5-DF5B-4A73-AB6B-3A3DBBF8F7F0}" type="slidenum">
              <a:rPr lang="de-DE"/>
              <a:pPr/>
              <a:t>‹Nr.›</a:t>
            </a:fld>
            <a:endParaRPr lang="de-DE" sz="100"/>
          </a:p>
        </p:txBody>
      </p:sp>
      <p:sp>
        <p:nvSpPr>
          <p:cNvPr id="7" name="SHAPE weiß">
            <a:extLst>
              <a:ext uri="{FF2B5EF4-FFF2-40B4-BE49-F238E27FC236}">
                <a16:creationId xmlns:a16="http://schemas.microsoft.com/office/drawing/2014/main" id="{3F077847-4604-EA23-1628-AA1AFF4E7F2D}"/>
              </a:ext>
            </a:extLst>
          </p:cNvPr>
          <p:cNvSpPr/>
          <p:nvPr userDrawn="1"/>
        </p:nvSpPr>
        <p:spPr>
          <a:xfrm>
            <a:off x="11184000" y="0"/>
            <a:ext cx="1008000" cy="10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spcAft>
                <a:spcPts val="400"/>
              </a:spcAft>
            </a:pPr>
            <a:endParaRPr lang="de-DE" sz="1600"/>
          </a:p>
        </p:txBody>
      </p:sp>
      <p:sp>
        <p:nvSpPr>
          <p:cNvPr id="8" name="Bildplatzhalter">
            <a:extLst>
              <a:ext uri="{FF2B5EF4-FFF2-40B4-BE49-F238E27FC236}">
                <a16:creationId xmlns:a16="http://schemas.microsoft.com/office/drawing/2014/main" id="{ADE706FE-176F-0413-6B4B-892B65472D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537200" y="0"/>
            <a:ext cx="4654800" cy="6858000"/>
          </a:xfrm>
          <a:solidFill>
            <a:srgbClr val="F6F3F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3" name="Inhaltsplatzhalter">
            <a:extLst>
              <a:ext uri="{FF2B5EF4-FFF2-40B4-BE49-F238E27FC236}">
                <a16:creationId xmlns:a16="http://schemas.microsoft.com/office/drawing/2014/main" id="{C4EAE032-D24C-7B32-E220-07CDE94773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6000" y="1773238"/>
            <a:ext cx="6301199" cy="41767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6E6A25C-B6BC-438B-A77E-A86AEAFF74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001" y="656874"/>
            <a:ext cx="6301199" cy="756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MIO_CONVERT_SLIDES_SUBTITLE">
            <a:extLst>
              <a:ext uri="{FF2B5EF4-FFF2-40B4-BE49-F238E27FC236}">
                <a16:creationId xmlns:a16="http://schemas.microsoft.com/office/drawing/2014/main" id="{3734B77E-52DB-A83D-AE2A-B7ACDDD20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6001" y="345637"/>
            <a:ext cx="6301199" cy="180000"/>
          </a:xfrm>
        </p:spPr>
        <p:txBody>
          <a:bodyPr anchor="ctr"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4" name="MIO_Placeholder_Mapping" hidden="1">
            <a:extLst>
              <a:ext uri="{FF2B5EF4-FFF2-40B4-BE49-F238E27FC236}">
                <a16:creationId xmlns:a16="http://schemas.microsoft.com/office/drawing/2014/main" id="{D2B1242D-3D7F-9AF7-5DD6-7C2A8168BBC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0" cy="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10000"/>
              </a:lnSpc>
              <a:spcAft>
                <a:spcPts val="400"/>
              </a:spcAft>
            </a:pPr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394217543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1117" userDrawn="1">
          <p15:clr>
            <a:srgbClr val="FBAE40"/>
          </p15:clr>
        </p15:guide>
        <p15:guide id="2" orient="horz" pos="3748" userDrawn="1">
          <p15:clr>
            <a:srgbClr val="FBAE40"/>
          </p15:clr>
        </p15:guide>
        <p15:guide id="3" pos="438" userDrawn="1">
          <p15:clr>
            <a:srgbClr val="FBAE40"/>
          </p15:clr>
        </p15:guide>
        <p15:guide id="4" pos="4407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Bild (Splitsc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APE weiß">
            <a:extLst>
              <a:ext uri="{FF2B5EF4-FFF2-40B4-BE49-F238E27FC236}">
                <a16:creationId xmlns:a16="http://schemas.microsoft.com/office/drawing/2014/main" id="{6438FE9A-A458-4E53-9BAE-F2DE4512070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spcAft>
                <a:spcPts val="400"/>
              </a:spcAft>
            </a:pPr>
            <a:endParaRPr lang="de-DE" sz="160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9FE292-D3C4-482D-F455-B4C1D8C71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1FABAC2-3BE1-6D0E-2E9D-1366E5A157D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E14B87A5-DF5B-4A73-AB6B-3A3DBBF8F7F0}" type="slidenum">
              <a:rPr lang="de-DE"/>
              <a:pPr/>
              <a:t>‹Nr.›</a:t>
            </a:fld>
            <a:endParaRPr lang="de-DE" sz="100"/>
          </a:p>
        </p:txBody>
      </p:sp>
      <p:sp>
        <p:nvSpPr>
          <p:cNvPr id="7" name="SHAPE weiß">
            <a:extLst>
              <a:ext uri="{FF2B5EF4-FFF2-40B4-BE49-F238E27FC236}">
                <a16:creationId xmlns:a16="http://schemas.microsoft.com/office/drawing/2014/main" id="{3F077847-4604-EA23-1628-AA1AFF4E7F2D}"/>
              </a:ext>
            </a:extLst>
          </p:cNvPr>
          <p:cNvSpPr/>
          <p:nvPr userDrawn="1"/>
        </p:nvSpPr>
        <p:spPr>
          <a:xfrm>
            <a:off x="11184000" y="0"/>
            <a:ext cx="1008000" cy="10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spcAft>
                <a:spcPts val="400"/>
              </a:spcAft>
            </a:pPr>
            <a:endParaRPr lang="de-DE" sz="1600"/>
          </a:p>
        </p:txBody>
      </p:sp>
      <p:sp>
        <p:nvSpPr>
          <p:cNvPr id="8" name="Bildplatzhalter">
            <a:extLst>
              <a:ext uri="{FF2B5EF4-FFF2-40B4-BE49-F238E27FC236}">
                <a16:creationId xmlns:a16="http://schemas.microsoft.com/office/drawing/2014/main" id="{ADE706FE-176F-0413-6B4B-892B65472D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rgbClr val="F6F3F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3" name="Inhaltsplatzhalter">
            <a:extLst>
              <a:ext uri="{FF2B5EF4-FFF2-40B4-BE49-F238E27FC236}">
                <a16:creationId xmlns:a16="http://schemas.microsoft.com/office/drawing/2014/main" id="{C4EAE032-D24C-7B32-E220-07CDE94773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6001" y="1773238"/>
            <a:ext cx="4859998" cy="41767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6E6A25C-B6BC-438B-A77E-A86AEAFF74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002" y="656874"/>
            <a:ext cx="4859998" cy="756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MIO_CONVERT_SLIDES_SUBTITLE">
            <a:extLst>
              <a:ext uri="{FF2B5EF4-FFF2-40B4-BE49-F238E27FC236}">
                <a16:creationId xmlns:a16="http://schemas.microsoft.com/office/drawing/2014/main" id="{3734B77E-52DB-A83D-AE2A-B7ACDDD20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6002" y="345637"/>
            <a:ext cx="4859998" cy="180000"/>
          </a:xfrm>
        </p:spPr>
        <p:txBody>
          <a:bodyPr anchor="ctr"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0851629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1117" userDrawn="1">
          <p15:clr>
            <a:srgbClr val="FBAE40"/>
          </p15:clr>
        </p15:guide>
        <p15:guide id="2" orient="horz" pos="3748" userDrawn="1">
          <p15:clr>
            <a:srgbClr val="FBAE40"/>
          </p15:clr>
        </p15:guide>
        <p15:guide id="3" pos="438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Bild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weiß">
            <a:extLst>
              <a:ext uri="{FF2B5EF4-FFF2-40B4-BE49-F238E27FC236}">
                <a16:creationId xmlns:a16="http://schemas.microsoft.com/office/drawing/2014/main" id="{606AB65D-8F4C-6E2F-4F2C-B2F895F43BD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spcAft>
                <a:spcPts val="400"/>
              </a:spcAft>
            </a:pPr>
            <a:endParaRPr lang="de-DE" sz="160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F06EC67-97FB-6CDA-E176-7488E27535DC}"/>
              </a:ext>
            </a:extLst>
          </p:cNvPr>
          <p:cNvSpPr>
            <a:spLocks noGrp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 sz="10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D8F187-3A2D-6183-5951-7FE376A5F6A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E14B87A5-DF5B-4A73-AB6B-3A3DBBF8F7F0}" type="slidenum">
              <a:rPr lang="de-DE"/>
              <a:pPr/>
              <a:t>‹Nr.›</a:t>
            </a:fld>
            <a:endParaRPr lang="de-DE" sz="100"/>
          </a:p>
        </p:txBody>
      </p:sp>
      <p:sp>
        <p:nvSpPr>
          <p:cNvPr id="8" name="Bildplatzhalter">
            <a:extLst>
              <a:ext uri="{FF2B5EF4-FFF2-40B4-BE49-F238E27FC236}">
                <a16:creationId xmlns:a16="http://schemas.microsoft.com/office/drawing/2014/main" id="{113615F1-AFCC-1CB3-3B65-EAED18C7B53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4690800"/>
            <a:ext cx="12192000" cy="2167200"/>
          </a:xfrm>
          <a:solidFill>
            <a:srgbClr val="F6F3F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7" name="Inhaltsplatzhalter rechts">
            <a:extLst>
              <a:ext uri="{FF2B5EF4-FFF2-40B4-BE49-F238E27FC236}">
                <a16:creationId xmlns:a16="http://schemas.microsoft.com/office/drawing/2014/main" id="{C7904E8D-AEC3-5E29-C894-8247669D2DA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66000" y="1773238"/>
            <a:ext cx="5129999" cy="237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Inhaltsplatzhalter links">
            <a:extLst>
              <a:ext uri="{FF2B5EF4-FFF2-40B4-BE49-F238E27FC236}">
                <a16:creationId xmlns:a16="http://schemas.microsoft.com/office/drawing/2014/main" id="{4AD2C17D-DA4D-B418-262F-FF2C1D2649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6001" y="1773238"/>
            <a:ext cx="5129999" cy="237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A184E106-A7B5-3C83-3D72-CA1EA6882D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MIO_CONVERT_SLIDES_SUBTITLE">
            <a:extLst>
              <a:ext uri="{FF2B5EF4-FFF2-40B4-BE49-F238E27FC236}">
                <a16:creationId xmlns:a16="http://schemas.microsoft.com/office/drawing/2014/main" id="{936CCFD4-5907-5AAE-49A2-C4FAE98E0E3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6001" y="345637"/>
            <a:ext cx="10800000" cy="180000"/>
          </a:xfrm>
        </p:spPr>
        <p:txBody>
          <a:bodyPr anchor="ctr"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1412558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1117" userDrawn="1">
          <p15:clr>
            <a:srgbClr val="FBAE40"/>
          </p15:clr>
        </p15:guide>
        <p15:guide id="2" orient="horz" pos="2614" userDrawn="1">
          <p15:clr>
            <a:srgbClr val="FBAE40"/>
          </p15:clr>
        </p15:guide>
        <p15:guide id="3" pos="4011" userDrawn="1">
          <p15:clr>
            <a:srgbClr val="FBAE40"/>
          </p15:clr>
        </p15:guide>
        <p15:guide id="4" pos="3669" userDrawn="1">
          <p15:clr>
            <a:srgbClr val="FBAE40"/>
          </p15:clr>
        </p15:guide>
        <p15:guide id="5" pos="438" userDrawn="1">
          <p15:clr>
            <a:srgbClr val="FBAE40"/>
          </p15:clr>
        </p15:guide>
        <p15:guide id="6" pos="7242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weiß">
            <a:extLst>
              <a:ext uri="{FF2B5EF4-FFF2-40B4-BE49-F238E27FC236}">
                <a16:creationId xmlns:a16="http://schemas.microsoft.com/office/drawing/2014/main" id="{124B36EE-569E-D415-C289-E96D06E70BB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spcAft>
                <a:spcPts val="400"/>
              </a:spcAft>
            </a:pPr>
            <a:endParaRPr lang="de-DE" sz="160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F06EC67-97FB-6CDA-E176-7488E27535DC}"/>
              </a:ext>
            </a:extLst>
          </p:cNvPr>
          <p:cNvSpPr>
            <a:spLocks noGrp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 sz="10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D8F187-3A2D-6183-5951-7FE376A5F6A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E14B87A5-DF5B-4A73-AB6B-3A3DBBF8F7F0}" type="slidenum">
              <a:rPr lang="de-DE"/>
              <a:pPr/>
              <a:t>‹Nr.›</a:t>
            </a:fld>
            <a:endParaRPr lang="de-DE" sz="100"/>
          </a:p>
        </p:txBody>
      </p:sp>
      <p:sp>
        <p:nvSpPr>
          <p:cNvPr id="8" name="Bildplatzhalter">
            <a:extLst>
              <a:ext uri="{FF2B5EF4-FFF2-40B4-BE49-F238E27FC236}">
                <a16:creationId xmlns:a16="http://schemas.microsoft.com/office/drawing/2014/main" id="{113615F1-AFCC-1CB3-3B65-EAED18C7B53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rgbClr val="F6F3F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7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CB8A019E-4258-E547-D10E-89A7BEB6714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9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D363EBCC-441B-BA94-1659-62D229E0176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4" name="MIO_Placeholder_Mapping" hidden="1">
            <a:extLst>
              <a:ext uri="{FF2B5EF4-FFF2-40B4-BE49-F238E27FC236}">
                <a16:creationId xmlns:a16="http://schemas.microsoft.com/office/drawing/2014/main" id="{1EC98058-781A-FF6E-9897-0150BB8EA15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0" cy="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10000"/>
              </a:lnSpc>
              <a:spcAft>
                <a:spcPts val="400"/>
              </a:spcAft>
            </a:pPr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2645945532"/>
      </p:ext>
    </p:extLst>
  </p:cSld>
  <p:clrMapOvr>
    <a:masterClrMapping/>
  </p:clrMapOvr>
  <p:hf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420C74C-5889-9F74-B40D-AA40081324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DEC11C-33C0-C243-B9C7-7CCED15FF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4B87A5-DF5B-4A73-AB6B-3A3DBBF8F7F0}" type="slidenum">
              <a:rPr lang="de-DE"/>
              <a:t>‹Nr.›</a:t>
            </a:fld>
            <a:endParaRPr lang="de-DE"/>
          </a:p>
        </p:txBody>
      </p:sp>
      <p:sp>
        <p:nvSpPr>
          <p:cNvPr id="22" name="Textplatzhalter Kontakt rechts">
            <a:extLst>
              <a:ext uri="{FF2B5EF4-FFF2-40B4-BE49-F238E27FC236}">
                <a16:creationId xmlns:a16="http://schemas.microsoft.com/office/drawing/2014/main" id="{126EF1AD-7DCB-0888-CE21-A7D45490CA3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53704" y="4689071"/>
            <a:ext cx="3240000" cy="720000"/>
          </a:xfrm>
        </p:spPr>
        <p:txBody>
          <a:bodyPr anchor="b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/>
              <a:t>Telefonnummer eingeben</a:t>
            </a:r>
            <a:br>
              <a:rPr lang="de-DE"/>
            </a:br>
            <a:r>
              <a:rPr lang="de-DE"/>
              <a:t>Mobilnummer eingeben</a:t>
            </a:r>
            <a:br>
              <a:rPr lang="de-DE"/>
            </a:br>
            <a:r>
              <a:rPr lang="de-DE"/>
              <a:t>Mailadresse eingeben</a:t>
            </a:r>
            <a:endParaRPr lang="en-US"/>
          </a:p>
        </p:txBody>
      </p:sp>
      <p:sp>
        <p:nvSpPr>
          <p:cNvPr id="25" name="Textplatzhalter Kontakt mitte">
            <a:extLst>
              <a:ext uri="{FF2B5EF4-FFF2-40B4-BE49-F238E27FC236}">
                <a16:creationId xmlns:a16="http://schemas.microsoft.com/office/drawing/2014/main" id="{E7A0BE21-7510-B5B6-8DAD-503E33374D7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73839" y="4689071"/>
            <a:ext cx="3240000" cy="720000"/>
          </a:xfrm>
        </p:spPr>
        <p:txBody>
          <a:bodyPr anchor="b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/>
              <a:t>Telefonnummer eingeben</a:t>
            </a:r>
            <a:br>
              <a:rPr lang="de-DE"/>
            </a:br>
            <a:r>
              <a:rPr lang="de-DE"/>
              <a:t>Mobilnummer eingeben</a:t>
            </a:r>
            <a:br>
              <a:rPr lang="de-DE"/>
            </a:br>
            <a:r>
              <a:rPr lang="de-DE"/>
              <a:t>Mailadresse eingeben</a:t>
            </a:r>
            <a:endParaRPr lang="en-US"/>
          </a:p>
        </p:txBody>
      </p:sp>
      <p:sp>
        <p:nvSpPr>
          <p:cNvPr id="16" name="Textplatzhalter Kontakt links">
            <a:extLst>
              <a:ext uri="{FF2B5EF4-FFF2-40B4-BE49-F238E27FC236}">
                <a16:creationId xmlns:a16="http://schemas.microsoft.com/office/drawing/2014/main" id="{751008A2-DA29-89FE-E9F6-ACB100A404D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6001" y="4689071"/>
            <a:ext cx="3240000" cy="720000"/>
          </a:xfrm>
        </p:spPr>
        <p:txBody>
          <a:bodyPr anchor="b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/>
              <a:t>Telefonnummer eingeben</a:t>
            </a:r>
            <a:br>
              <a:rPr lang="de-DE"/>
            </a:br>
            <a:r>
              <a:rPr lang="de-DE"/>
              <a:t>Mobilnummer eingeben</a:t>
            </a:r>
            <a:br>
              <a:rPr lang="de-DE"/>
            </a:br>
            <a:r>
              <a:rPr lang="de-DE"/>
              <a:t>Mailadresse eingeben</a:t>
            </a:r>
            <a:endParaRPr lang="en-US"/>
          </a:p>
        </p:txBody>
      </p:sp>
      <p:sp>
        <p:nvSpPr>
          <p:cNvPr id="23" name="Textplatzhalter Name rechts">
            <a:extLst>
              <a:ext uri="{FF2B5EF4-FFF2-40B4-BE49-F238E27FC236}">
                <a16:creationId xmlns:a16="http://schemas.microsoft.com/office/drawing/2014/main" id="{F6C1BEC3-09A7-0F0F-C3B0-544BFB9999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53704" y="4077071"/>
            <a:ext cx="3240000" cy="540000"/>
          </a:xfrm>
        </p:spPr>
        <p:txBody>
          <a:bodyPr>
            <a:noAutofit/>
          </a:bodyPr>
          <a:lstStyle>
            <a:lvl1pPr>
              <a:defRPr sz="1400" b="1">
                <a:latin typeface="Manrope" pitchFamily="2" charset="0"/>
              </a:defRPr>
            </a:lvl1pPr>
          </a:lstStyle>
          <a:p>
            <a:pPr lvl="0"/>
            <a:r>
              <a:rPr lang="de-DE"/>
              <a:t>Name</a:t>
            </a:r>
            <a:br>
              <a:rPr lang="de-DE"/>
            </a:br>
            <a:r>
              <a:rPr lang="de-DE"/>
              <a:t>Position</a:t>
            </a:r>
            <a:endParaRPr lang="en-US"/>
          </a:p>
        </p:txBody>
      </p:sp>
      <p:sp>
        <p:nvSpPr>
          <p:cNvPr id="26" name="Textplatzhalter Name mitte">
            <a:extLst>
              <a:ext uri="{FF2B5EF4-FFF2-40B4-BE49-F238E27FC236}">
                <a16:creationId xmlns:a16="http://schemas.microsoft.com/office/drawing/2014/main" id="{34119DFB-2FCA-8BB9-6F78-4F8A9D0B57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73839" y="4077071"/>
            <a:ext cx="3240000" cy="540000"/>
          </a:xfrm>
        </p:spPr>
        <p:txBody>
          <a:bodyPr>
            <a:noAutofit/>
          </a:bodyPr>
          <a:lstStyle>
            <a:lvl1pPr>
              <a:defRPr sz="1400" b="1">
                <a:latin typeface="Manrope" pitchFamily="2" charset="0"/>
              </a:defRPr>
            </a:lvl1pPr>
          </a:lstStyle>
          <a:p>
            <a:pPr lvl="0"/>
            <a:r>
              <a:rPr lang="de-DE"/>
              <a:t>Name</a:t>
            </a:r>
            <a:br>
              <a:rPr lang="de-DE"/>
            </a:br>
            <a:r>
              <a:rPr lang="de-DE"/>
              <a:t>Position</a:t>
            </a:r>
            <a:endParaRPr lang="en-US"/>
          </a:p>
        </p:txBody>
      </p:sp>
      <p:sp>
        <p:nvSpPr>
          <p:cNvPr id="14" name="Textplatzhalter Name links">
            <a:extLst>
              <a:ext uri="{FF2B5EF4-FFF2-40B4-BE49-F238E27FC236}">
                <a16:creationId xmlns:a16="http://schemas.microsoft.com/office/drawing/2014/main" id="{42E567C9-F6BB-8678-FC10-C158A24258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6001" y="4077071"/>
            <a:ext cx="3240000" cy="540000"/>
          </a:xfrm>
        </p:spPr>
        <p:txBody>
          <a:bodyPr>
            <a:noAutofit/>
          </a:bodyPr>
          <a:lstStyle>
            <a:lvl1pPr>
              <a:defRPr sz="1400" b="1">
                <a:latin typeface="Manrope" pitchFamily="2" charset="0"/>
              </a:defRPr>
            </a:lvl1pPr>
          </a:lstStyle>
          <a:p>
            <a:pPr lvl="0"/>
            <a:r>
              <a:rPr lang="de-DE"/>
              <a:t>Name</a:t>
            </a:r>
            <a:br>
              <a:rPr lang="de-DE"/>
            </a:br>
            <a:r>
              <a:rPr lang="de-DE"/>
              <a:t>Position</a:t>
            </a:r>
            <a:endParaRPr lang="en-US"/>
          </a:p>
        </p:txBody>
      </p:sp>
      <p:sp>
        <p:nvSpPr>
          <p:cNvPr id="21" name="Bildplatzhalter rechts">
            <a:extLst>
              <a:ext uri="{FF2B5EF4-FFF2-40B4-BE49-F238E27FC236}">
                <a16:creationId xmlns:a16="http://schemas.microsoft.com/office/drawing/2014/main" id="{14047F9A-3F1B-6D6F-C0B5-93A5E99F666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53028" y="2285298"/>
            <a:ext cx="1440000" cy="1440000"/>
          </a:xfrm>
          <a:custGeom>
            <a:avLst/>
            <a:gdLst>
              <a:gd name="csX0" fmla="*/ 720000 w 1440000"/>
              <a:gd name="csY0" fmla="*/ 0 h 1440000"/>
              <a:gd name="csX1" fmla="*/ 1440000 w 1440000"/>
              <a:gd name="csY1" fmla="*/ 720000 h 1440000"/>
              <a:gd name="csX2" fmla="*/ 720000 w 1440000"/>
              <a:gd name="csY2" fmla="*/ 1440000 h 1440000"/>
              <a:gd name="csX3" fmla="*/ 0 w 1440000"/>
              <a:gd name="csY3" fmla="*/ 720000 h 1440000"/>
              <a:gd name="csX4" fmla="*/ 720000 w 1440000"/>
              <a:gd name="csY4" fmla="*/ 0 h 1440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440000" h="1440000">
                <a:moveTo>
                  <a:pt x="720000" y="0"/>
                </a:moveTo>
                <a:cubicBezTo>
                  <a:pt x="1117645" y="0"/>
                  <a:pt x="1440000" y="322355"/>
                  <a:pt x="1440000" y="720000"/>
                </a:cubicBezTo>
                <a:cubicBezTo>
                  <a:pt x="1440000" y="1117645"/>
                  <a:pt x="1117645" y="1440000"/>
                  <a:pt x="720000" y="1440000"/>
                </a:cubicBezTo>
                <a:cubicBezTo>
                  <a:pt x="322355" y="1440000"/>
                  <a:pt x="0" y="1117645"/>
                  <a:pt x="0" y="720000"/>
                </a:cubicBezTo>
                <a:cubicBezTo>
                  <a:pt x="0" y="322355"/>
                  <a:pt x="322355" y="0"/>
                  <a:pt x="7200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4" name="Bildplatzhalter mitte">
            <a:extLst>
              <a:ext uri="{FF2B5EF4-FFF2-40B4-BE49-F238E27FC236}">
                <a16:creationId xmlns:a16="http://schemas.microsoft.com/office/drawing/2014/main" id="{8E5E750B-F997-3854-B997-A1A8A4E6C2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473163" y="2285298"/>
            <a:ext cx="1440000" cy="1440000"/>
          </a:xfrm>
          <a:custGeom>
            <a:avLst/>
            <a:gdLst>
              <a:gd name="csX0" fmla="*/ 720000 w 1440000"/>
              <a:gd name="csY0" fmla="*/ 0 h 1440000"/>
              <a:gd name="csX1" fmla="*/ 1440000 w 1440000"/>
              <a:gd name="csY1" fmla="*/ 720000 h 1440000"/>
              <a:gd name="csX2" fmla="*/ 720000 w 1440000"/>
              <a:gd name="csY2" fmla="*/ 1440000 h 1440000"/>
              <a:gd name="csX3" fmla="*/ 0 w 1440000"/>
              <a:gd name="csY3" fmla="*/ 720000 h 1440000"/>
              <a:gd name="csX4" fmla="*/ 720000 w 1440000"/>
              <a:gd name="csY4" fmla="*/ 0 h 1440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440000" h="1440000">
                <a:moveTo>
                  <a:pt x="720000" y="0"/>
                </a:moveTo>
                <a:cubicBezTo>
                  <a:pt x="1117645" y="0"/>
                  <a:pt x="1440000" y="322355"/>
                  <a:pt x="1440000" y="720000"/>
                </a:cubicBezTo>
                <a:cubicBezTo>
                  <a:pt x="1440000" y="1117645"/>
                  <a:pt x="1117645" y="1440000"/>
                  <a:pt x="720000" y="1440000"/>
                </a:cubicBezTo>
                <a:cubicBezTo>
                  <a:pt x="322355" y="1440000"/>
                  <a:pt x="0" y="1117645"/>
                  <a:pt x="0" y="720000"/>
                </a:cubicBezTo>
                <a:cubicBezTo>
                  <a:pt x="0" y="322355"/>
                  <a:pt x="322355" y="0"/>
                  <a:pt x="7200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0" name="Bildplatzhalter links">
            <a:extLst>
              <a:ext uri="{FF2B5EF4-FFF2-40B4-BE49-F238E27FC236}">
                <a16:creationId xmlns:a16="http://schemas.microsoft.com/office/drawing/2014/main" id="{4E8B3807-0AF7-3B50-C4D8-778F61E6D8D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95325" y="2285298"/>
            <a:ext cx="1440000" cy="1440000"/>
          </a:xfrm>
          <a:custGeom>
            <a:avLst/>
            <a:gdLst>
              <a:gd name="csX0" fmla="*/ 720000 w 1440000"/>
              <a:gd name="csY0" fmla="*/ 0 h 1440000"/>
              <a:gd name="csX1" fmla="*/ 1440000 w 1440000"/>
              <a:gd name="csY1" fmla="*/ 720000 h 1440000"/>
              <a:gd name="csX2" fmla="*/ 720000 w 1440000"/>
              <a:gd name="csY2" fmla="*/ 1440000 h 1440000"/>
              <a:gd name="csX3" fmla="*/ 0 w 1440000"/>
              <a:gd name="csY3" fmla="*/ 720000 h 1440000"/>
              <a:gd name="csX4" fmla="*/ 720000 w 1440000"/>
              <a:gd name="csY4" fmla="*/ 0 h 1440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440000" h="1440000">
                <a:moveTo>
                  <a:pt x="720000" y="0"/>
                </a:moveTo>
                <a:cubicBezTo>
                  <a:pt x="1117645" y="0"/>
                  <a:pt x="1440000" y="322355"/>
                  <a:pt x="1440000" y="720000"/>
                </a:cubicBezTo>
                <a:cubicBezTo>
                  <a:pt x="1440000" y="1117645"/>
                  <a:pt x="1117645" y="1440000"/>
                  <a:pt x="720000" y="1440000"/>
                </a:cubicBezTo>
                <a:cubicBezTo>
                  <a:pt x="322355" y="1440000"/>
                  <a:pt x="0" y="1117645"/>
                  <a:pt x="0" y="720000"/>
                </a:cubicBezTo>
                <a:cubicBezTo>
                  <a:pt x="0" y="322355"/>
                  <a:pt x="322355" y="0"/>
                  <a:pt x="7200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18D2FB14-2BA0-19EF-84A9-B16F7D8AA1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MIO_CONVERT_SLIDES_SUBTITLE">
            <a:extLst>
              <a:ext uri="{FF2B5EF4-FFF2-40B4-BE49-F238E27FC236}">
                <a16:creationId xmlns:a16="http://schemas.microsoft.com/office/drawing/2014/main" id="{F0E6D450-55E7-9916-1DD9-F536B1D237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6001" y="345637"/>
            <a:ext cx="10800000" cy="180000"/>
          </a:xfrm>
        </p:spPr>
        <p:txBody>
          <a:bodyPr anchor="ctr">
            <a:noAutofit/>
          </a:bodyPr>
          <a:lstStyle>
            <a:lvl1pPr>
              <a:defRPr sz="1000"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36B86AEB-DC6F-61F1-5254-64AFF765402B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0" cy="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10000"/>
              </a:lnSpc>
              <a:spcAft>
                <a:spcPts val="400"/>
              </a:spcAft>
            </a:pPr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340911811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1117" userDrawn="1">
          <p15:clr>
            <a:srgbClr val="FBAE40"/>
          </p15:clr>
        </p15:guide>
        <p15:guide id="2" orient="horz" pos="3748" userDrawn="1">
          <p15:clr>
            <a:srgbClr val="FBAE40"/>
          </p15:clr>
        </p15:guide>
        <p15:guide id="3" pos="438" userDrawn="1">
          <p15:clr>
            <a:srgbClr val="FBAE40"/>
          </p15:clr>
        </p15:guide>
        <p15:guide id="4" pos="7242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botschaft HanseWe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F06EC67-97FB-6CDA-E176-7488E27535DC}"/>
              </a:ext>
            </a:extLst>
          </p:cNvPr>
          <p:cNvSpPr>
            <a:spLocks noGrp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 sz="10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D8F187-3A2D-6183-5951-7FE376A5F6A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E14B87A5-DF5B-4A73-AB6B-3A3DBBF8F7F0}" type="slidenum">
              <a:rPr lang="de-DE"/>
              <a:pPr/>
              <a:t>‹Nr.›</a:t>
            </a:fld>
            <a:endParaRPr lang="de-DE" sz="100"/>
          </a:p>
        </p:txBody>
      </p:sp>
      <p:sp>
        <p:nvSpPr>
          <p:cNvPr id="2" name="SHAPE blau">
            <a:extLst>
              <a:ext uri="{FF2B5EF4-FFF2-40B4-BE49-F238E27FC236}">
                <a16:creationId xmlns:a16="http://schemas.microsoft.com/office/drawing/2014/main" id="{CD63B28D-C916-72D8-DA01-BABAB4CDBBA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spcAft>
                <a:spcPts val="400"/>
              </a:spcAft>
            </a:pPr>
            <a:endParaRPr lang="de-DE" sz="1600"/>
          </a:p>
        </p:txBody>
      </p:sp>
      <p:pic>
        <p:nvPicPr>
          <p:cNvPr id="6" name="DECO Supergrafik 6">
            <a:extLst>
              <a:ext uri="{FF2B5EF4-FFF2-40B4-BE49-F238E27FC236}">
                <a16:creationId xmlns:a16="http://schemas.microsoft.com/office/drawing/2014/main" id="{6334EADE-00A0-3174-5629-ECD2FB9DBB8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3564" r="34474" b="22958"/>
          <a:stretch>
            <a:fillRect/>
          </a:stretch>
        </p:blipFill>
        <p:spPr>
          <a:xfrm>
            <a:off x="1" y="0"/>
            <a:ext cx="12191996" cy="6858000"/>
          </a:xfrm>
          <a:custGeom>
            <a:avLst/>
            <a:gdLst>
              <a:gd name="csX0" fmla="*/ 0 w 12191996"/>
              <a:gd name="csY0" fmla="*/ 0 h 6858000"/>
              <a:gd name="csX1" fmla="*/ 12191996 w 12191996"/>
              <a:gd name="csY1" fmla="*/ 0 h 6858000"/>
              <a:gd name="csX2" fmla="*/ 12191996 w 12191996"/>
              <a:gd name="csY2" fmla="*/ 6858000 h 6858000"/>
              <a:gd name="csX3" fmla="*/ 0 w 12191996"/>
              <a:gd name="csY3" fmla="*/ 6858000 h 6858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12191996" h="6858000">
                <a:moveTo>
                  <a:pt x="0" y="0"/>
                </a:moveTo>
                <a:lnTo>
                  <a:pt x="12191996" y="0"/>
                </a:lnTo>
                <a:lnTo>
                  <a:pt x="1219199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4" name="LOGO">
            <a:extLst>
              <a:ext uri="{FF2B5EF4-FFF2-40B4-BE49-F238E27FC236}">
                <a16:creationId xmlns:a16="http://schemas.microsoft.com/office/drawing/2014/main" id="{F3B3A312-94CA-D601-31E3-8A2608A077B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44372" y="5337212"/>
            <a:ext cx="2401370" cy="1224000"/>
          </a:xfrm>
          <a:prstGeom prst="rect">
            <a:avLst/>
          </a:prstGeom>
        </p:spPr>
      </p:pic>
      <p:sp>
        <p:nvSpPr>
          <p:cNvPr id="13" name="Textplatzhalter">
            <a:extLst>
              <a:ext uri="{FF2B5EF4-FFF2-40B4-BE49-F238E27FC236}">
                <a16:creationId xmlns:a16="http://schemas.microsoft.com/office/drawing/2014/main" id="{62B179CC-B8B1-2C79-4C97-AB66EC4680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5325" y="1430011"/>
            <a:ext cx="5184651" cy="2557463"/>
          </a:xfrm>
        </p:spPr>
        <p:txBody>
          <a:bodyPr anchor="ctr"/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8" name="MIO_AGENDA_LAST_SLIDE" descr="Schließen mit einfarbiger Füllung" hidden="1">
            <a:extLst>
              <a:ext uri="{FF2B5EF4-FFF2-40B4-BE49-F238E27FC236}">
                <a16:creationId xmlns:a16="http://schemas.microsoft.com/office/drawing/2014/main" id="{19E5CFCC-1902-2DF8-DB87-BDE645BFF8F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9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73F208C3-CC55-9F00-2D80-E0634C2E3FB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0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FF42263B-9249-52E7-D346-98CFEE4EFB8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6155D54E-35F7-302E-01C2-46AC60D875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0" cy="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10000"/>
              </a:lnSpc>
              <a:spcAft>
                <a:spcPts val="400"/>
              </a:spcAft>
            </a:pPr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759835312"/>
      </p:ext>
    </p:extLst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HanseWerk Nat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906CD45-4BD7-7662-2BD1-F6F6802246AB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92BD8F7-1C8B-BE3B-9D15-75595C01DD58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E14B87A5-DF5B-4A73-AB6B-3A3DBBF8F7F0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9" name="SHAPE blau">
            <a:extLst>
              <a:ext uri="{FF2B5EF4-FFF2-40B4-BE49-F238E27FC236}">
                <a16:creationId xmlns:a16="http://schemas.microsoft.com/office/drawing/2014/main" id="{2EEF008A-BBC0-2501-DB82-88EEC5765B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spcAft>
                <a:spcPts val="400"/>
              </a:spcAft>
            </a:pPr>
            <a:endParaRPr lang="de-DE" sz="1600"/>
          </a:p>
        </p:txBody>
      </p:sp>
      <p:pic>
        <p:nvPicPr>
          <p:cNvPr id="8" name="DECO Supergrafik 2">
            <a:extLst>
              <a:ext uri="{FF2B5EF4-FFF2-40B4-BE49-F238E27FC236}">
                <a16:creationId xmlns:a16="http://schemas.microsoft.com/office/drawing/2014/main" id="{F7D9285E-892A-B76A-C781-5B179F3CF6D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6177" t="1563" b="1723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LOGO">
            <a:extLst>
              <a:ext uri="{FF2B5EF4-FFF2-40B4-BE49-F238E27FC236}">
                <a16:creationId xmlns:a16="http://schemas.microsoft.com/office/drawing/2014/main" id="{134AFFAA-3B68-ADEA-0B8E-0FD91AB9CE7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517869" y="5049180"/>
            <a:ext cx="3325418" cy="1512000"/>
          </a:xfrm>
          <a:prstGeom prst="rect">
            <a:avLst/>
          </a:prstGeom>
        </p:spPr>
      </p:pic>
      <p:sp>
        <p:nvSpPr>
          <p:cNvPr id="3" name="Untertitel">
            <a:extLst>
              <a:ext uri="{FF2B5EF4-FFF2-40B4-BE49-F238E27FC236}">
                <a16:creationId xmlns:a16="http://schemas.microsoft.com/office/drawing/2014/main" id="{EBFF5A12-9B86-06E6-5D0E-381EF8FF1D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5" y="2493000"/>
            <a:ext cx="6912000" cy="936000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F28519F1-D514-3057-1CD6-A1BF132B38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5325" y="672677"/>
            <a:ext cx="7884951" cy="1661993"/>
          </a:xfrm>
        </p:spPr>
        <p:txBody>
          <a:bodyPr anchor="b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D94B3DB8-ABD6-305C-0CBA-8B2CE43FEA4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3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A1D5FA62-8D8F-D40F-BCE2-18219D53A7D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285867"/>
      </p:ext>
    </p:extLst>
  </p:cSld>
  <p:clrMapOvr>
    <a:masterClrMapping/>
  </p:clrMapOvr>
  <p:hf hd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botschaft SH Net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F06EC67-97FB-6CDA-E176-7488E27535DC}"/>
              </a:ext>
            </a:extLst>
          </p:cNvPr>
          <p:cNvSpPr>
            <a:spLocks noGrp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 sz="10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D8F187-3A2D-6183-5951-7FE376A5F6A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E14B87A5-DF5B-4A73-AB6B-3A3DBBF8F7F0}" type="slidenum">
              <a:rPr lang="de-DE"/>
              <a:pPr/>
              <a:t>‹Nr.›</a:t>
            </a:fld>
            <a:endParaRPr lang="de-DE" sz="100"/>
          </a:p>
        </p:txBody>
      </p:sp>
      <p:sp>
        <p:nvSpPr>
          <p:cNvPr id="2" name="SHAPE blau">
            <a:extLst>
              <a:ext uri="{FF2B5EF4-FFF2-40B4-BE49-F238E27FC236}">
                <a16:creationId xmlns:a16="http://schemas.microsoft.com/office/drawing/2014/main" id="{CD63B28D-C916-72D8-DA01-BABAB4CDBBA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spcAft>
                <a:spcPts val="400"/>
              </a:spcAft>
            </a:pPr>
            <a:endParaRPr lang="de-DE" sz="1600"/>
          </a:p>
        </p:txBody>
      </p:sp>
      <p:pic>
        <p:nvPicPr>
          <p:cNvPr id="4" name="DECO Supergrafik 6">
            <a:extLst>
              <a:ext uri="{FF2B5EF4-FFF2-40B4-BE49-F238E27FC236}">
                <a16:creationId xmlns:a16="http://schemas.microsoft.com/office/drawing/2014/main" id="{C0C73729-AA5A-4DBB-F529-EFD7BBC3397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3564" r="34474" b="22958"/>
          <a:stretch>
            <a:fillRect/>
          </a:stretch>
        </p:blipFill>
        <p:spPr>
          <a:xfrm>
            <a:off x="1" y="0"/>
            <a:ext cx="12191996" cy="6858000"/>
          </a:xfrm>
          <a:custGeom>
            <a:avLst/>
            <a:gdLst>
              <a:gd name="csX0" fmla="*/ 0 w 12191996"/>
              <a:gd name="csY0" fmla="*/ 0 h 6858000"/>
              <a:gd name="csX1" fmla="*/ 12191996 w 12191996"/>
              <a:gd name="csY1" fmla="*/ 0 h 6858000"/>
              <a:gd name="csX2" fmla="*/ 12191996 w 12191996"/>
              <a:gd name="csY2" fmla="*/ 6858000 h 6858000"/>
              <a:gd name="csX3" fmla="*/ 0 w 12191996"/>
              <a:gd name="csY3" fmla="*/ 6858000 h 6858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12191996" h="6858000">
                <a:moveTo>
                  <a:pt x="0" y="0"/>
                </a:moveTo>
                <a:lnTo>
                  <a:pt x="12191996" y="0"/>
                </a:lnTo>
                <a:lnTo>
                  <a:pt x="1219199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6" name="LOGO">
            <a:extLst>
              <a:ext uri="{FF2B5EF4-FFF2-40B4-BE49-F238E27FC236}">
                <a16:creationId xmlns:a16="http://schemas.microsoft.com/office/drawing/2014/main" id="{850F5EA0-929D-C976-5106-570C5A951CB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16380" y="5049180"/>
            <a:ext cx="2326907" cy="1512000"/>
          </a:xfrm>
          <a:prstGeom prst="rect">
            <a:avLst/>
          </a:prstGeom>
        </p:spPr>
      </p:pic>
      <p:sp>
        <p:nvSpPr>
          <p:cNvPr id="13" name="Textplatzhalter">
            <a:extLst>
              <a:ext uri="{FF2B5EF4-FFF2-40B4-BE49-F238E27FC236}">
                <a16:creationId xmlns:a16="http://schemas.microsoft.com/office/drawing/2014/main" id="{62B179CC-B8B1-2C79-4C97-AB66EC4680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5325" y="1430011"/>
            <a:ext cx="5184651" cy="2557463"/>
          </a:xfrm>
        </p:spPr>
        <p:txBody>
          <a:bodyPr anchor="ctr"/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9" name="MIO_AGENDA_LAST_SLIDE" descr="Schließen mit einfarbiger Füllung" hidden="1">
            <a:extLst>
              <a:ext uri="{FF2B5EF4-FFF2-40B4-BE49-F238E27FC236}">
                <a16:creationId xmlns:a16="http://schemas.microsoft.com/office/drawing/2014/main" id="{06C155DE-E446-4376-7B95-9A424382E22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0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D10846CD-B166-0921-0F0A-D808A695DE9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2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200A6325-7481-ADF3-E2A0-80AE447F17E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542428"/>
      </p:ext>
    </p:extLst>
  </p:cSld>
  <p:clrMapOvr>
    <a:masterClrMapping/>
  </p:clrMapOvr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botschaft HanseWerk Nat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F06EC67-97FB-6CDA-E176-7488E27535DC}"/>
              </a:ext>
            </a:extLst>
          </p:cNvPr>
          <p:cNvSpPr>
            <a:spLocks noGrp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 sz="10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D8F187-3A2D-6183-5951-7FE376A5F6A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E14B87A5-DF5B-4A73-AB6B-3A3DBBF8F7F0}" type="slidenum">
              <a:rPr lang="de-DE"/>
              <a:pPr/>
              <a:t>‹Nr.›</a:t>
            </a:fld>
            <a:endParaRPr lang="de-DE" sz="100"/>
          </a:p>
        </p:txBody>
      </p:sp>
      <p:sp>
        <p:nvSpPr>
          <p:cNvPr id="2" name="SHAPE blau">
            <a:extLst>
              <a:ext uri="{FF2B5EF4-FFF2-40B4-BE49-F238E27FC236}">
                <a16:creationId xmlns:a16="http://schemas.microsoft.com/office/drawing/2014/main" id="{CD63B28D-C916-72D8-DA01-BABAB4CDBBA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spcAft>
                <a:spcPts val="400"/>
              </a:spcAft>
            </a:pPr>
            <a:endParaRPr lang="de-DE" sz="1600"/>
          </a:p>
        </p:txBody>
      </p:sp>
      <p:pic>
        <p:nvPicPr>
          <p:cNvPr id="4" name="DECO Supergrafik 6">
            <a:extLst>
              <a:ext uri="{FF2B5EF4-FFF2-40B4-BE49-F238E27FC236}">
                <a16:creationId xmlns:a16="http://schemas.microsoft.com/office/drawing/2014/main" id="{A2BC65E2-B530-F13D-B861-05EB0648DFC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3564" r="34474" b="22958"/>
          <a:stretch>
            <a:fillRect/>
          </a:stretch>
        </p:blipFill>
        <p:spPr>
          <a:xfrm>
            <a:off x="1" y="0"/>
            <a:ext cx="12191996" cy="6858000"/>
          </a:xfrm>
          <a:custGeom>
            <a:avLst/>
            <a:gdLst>
              <a:gd name="csX0" fmla="*/ 0 w 12191996"/>
              <a:gd name="csY0" fmla="*/ 0 h 6858000"/>
              <a:gd name="csX1" fmla="*/ 12191996 w 12191996"/>
              <a:gd name="csY1" fmla="*/ 0 h 6858000"/>
              <a:gd name="csX2" fmla="*/ 12191996 w 12191996"/>
              <a:gd name="csY2" fmla="*/ 6858000 h 6858000"/>
              <a:gd name="csX3" fmla="*/ 0 w 12191996"/>
              <a:gd name="csY3" fmla="*/ 6858000 h 6858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12191996" h="6858000">
                <a:moveTo>
                  <a:pt x="0" y="0"/>
                </a:moveTo>
                <a:lnTo>
                  <a:pt x="12191996" y="0"/>
                </a:lnTo>
                <a:lnTo>
                  <a:pt x="1219199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7" name="LOGO">
            <a:extLst>
              <a:ext uri="{FF2B5EF4-FFF2-40B4-BE49-F238E27FC236}">
                <a16:creationId xmlns:a16="http://schemas.microsoft.com/office/drawing/2014/main" id="{A5C3D821-5EE4-0410-6324-7FEF5B880A1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517869" y="5049180"/>
            <a:ext cx="3325418" cy="1512000"/>
          </a:xfrm>
          <a:prstGeom prst="rect">
            <a:avLst/>
          </a:prstGeom>
        </p:spPr>
      </p:pic>
      <p:sp>
        <p:nvSpPr>
          <p:cNvPr id="13" name="Textplatzhalter">
            <a:extLst>
              <a:ext uri="{FF2B5EF4-FFF2-40B4-BE49-F238E27FC236}">
                <a16:creationId xmlns:a16="http://schemas.microsoft.com/office/drawing/2014/main" id="{62B179CC-B8B1-2C79-4C97-AB66EC4680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5325" y="1430011"/>
            <a:ext cx="5184651" cy="2557463"/>
          </a:xfrm>
        </p:spPr>
        <p:txBody>
          <a:bodyPr anchor="ctr"/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9" name="MIO_AGENDA_LAST_SLIDE" descr="Schließen mit einfarbiger Füllung" hidden="1">
            <a:extLst>
              <a:ext uri="{FF2B5EF4-FFF2-40B4-BE49-F238E27FC236}">
                <a16:creationId xmlns:a16="http://schemas.microsoft.com/office/drawing/2014/main" id="{06C155DE-E446-4376-7B95-9A424382E22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0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D10846CD-B166-0921-0F0A-D808A695DE9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2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200A6325-7481-ADF3-E2A0-80AE447F17E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4768993"/>
      </p:ext>
    </p:extLst>
  </p:cSld>
  <p:clrMapOvr>
    <a:masterClrMapping/>
  </p:clrMapOvr>
  <p:hf hd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botschaft HanseG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F06EC67-97FB-6CDA-E176-7488E27535DC}"/>
              </a:ext>
            </a:extLst>
          </p:cNvPr>
          <p:cNvSpPr>
            <a:spLocks noGrp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 sz="10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D8F187-3A2D-6183-5951-7FE376A5F6A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E14B87A5-DF5B-4A73-AB6B-3A3DBBF8F7F0}" type="slidenum">
              <a:rPr lang="de-DE"/>
              <a:pPr/>
              <a:t>‹Nr.›</a:t>
            </a:fld>
            <a:endParaRPr lang="de-DE" sz="100"/>
          </a:p>
        </p:txBody>
      </p:sp>
      <p:sp>
        <p:nvSpPr>
          <p:cNvPr id="2" name="SHAPE blau">
            <a:extLst>
              <a:ext uri="{FF2B5EF4-FFF2-40B4-BE49-F238E27FC236}">
                <a16:creationId xmlns:a16="http://schemas.microsoft.com/office/drawing/2014/main" id="{CD63B28D-C916-72D8-DA01-BABAB4CDBBA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spcAft>
                <a:spcPts val="400"/>
              </a:spcAft>
            </a:pPr>
            <a:endParaRPr lang="de-DE" sz="1600"/>
          </a:p>
        </p:txBody>
      </p:sp>
      <p:pic>
        <p:nvPicPr>
          <p:cNvPr id="4" name="DECO Supergrafik 6">
            <a:extLst>
              <a:ext uri="{FF2B5EF4-FFF2-40B4-BE49-F238E27FC236}">
                <a16:creationId xmlns:a16="http://schemas.microsoft.com/office/drawing/2014/main" id="{77D57C65-586E-6FB0-CF4F-C7103CEB21D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3564" r="34474" b="22958"/>
          <a:stretch>
            <a:fillRect/>
          </a:stretch>
        </p:blipFill>
        <p:spPr>
          <a:xfrm>
            <a:off x="1" y="0"/>
            <a:ext cx="12191996" cy="6858000"/>
          </a:xfrm>
          <a:custGeom>
            <a:avLst/>
            <a:gdLst>
              <a:gd name="csX0" fmla="*/ 0 w 12191996"/>
              <a:gd name="csY0" fmla="*/ 0 h 6858000"/>
              <a:gd name="csX1" fmla="*/ 12191996 w 12191996"/>
              <a:gd name="csY1" fmla="*/ 0 h 6858000"/>
              <a:gd name="csX2" fmla="*/ 12191996 w 12191996"/>
              <a:gd name="csY2" fmla="*/ 6858000 h 6858000"/>
              <a:gd name="csX3" fmla="*/ 0 w 12191996"/>
              <a:gd name="csY3" fmla="*/ 6858000 h 6858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12191996" h="6858000">
                <a:moveTo>
                  <a:pt x="0" y="0"/>
                </a:moveTo>
                <a:lnTo>
                  <a:pt x="12191996" y="0"/>
                </a:lnTo>
                <a:lnTo>
                  <a:pt x="1219199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6" name="LOGO">
            <a:extLst>
              <a:ext uri="{FF2B5EF4-FFF2-40B4-BE49-F238E27FC236}">
                <a16:creationId xmlns:a16="http://schemas.microsoft.com/office/drawing/2014/main" id="{DA5267F0-4010-E283-D504-79E265085F7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17072" y="5049180"/>
            <a:ext cx="2427054" cy="1512000"/>
          </a:xfrm>
          <a:prstGeom prst="rect">
            <a:avLst/>
          </a:prstGeom>
        </p:spPr>
      </p:pic>
      <p:sp>
        <p:nvSpPr>
          <p:cNvPr id="13" name="Textplatzhalter">
            <a:extLst>
              <a:ext uri="{FF2B5EF4-FFF2-40B4-BE49-F238E27FC236}">
                <a16:creationId xmlns:a16="http://schemas.microsoft.com/office/drawing/2014/main" id="{62B179CC-B8B1-2C79-4C97-AB66EC4680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5325" y="1430011"/>
            <a:ext cx="5184651" cy="2557463"/>
          </a:xfrm>
        </p:spPr>
        <p:txBody>
          <a:bodyPr anchor="ctr"/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9" name="MIO_AGENDA_LAST_SLIDE" descr="Schließen mit einfarbiger Füllung" hidden="1">
            <a:extLst>
              <a:ext uri="{FF2B5EF4-FFF2-40B4-BE49-F238E27FC236}">
                <a16:creationId xmlns:a16="http://schemas.microsoft.com/office/drawing/2014/main" id="{06C155DE-E446-4376-7B95-9A424382E22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0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D10846CD-B166-0921-0F0A-D808A695DE9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2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200A6325-7481-ADF3-E2A0-80AE447F17E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354146"/>
      </p:ext>
    </p:extLst>
  </p:cSld>
  <p:clrMapOvr>
    <a:masterClrMapping/>
  </p:clrMapOvr>
  <p:hf hdr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botschaft ElbEnerg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F06EC67-97FB-6CDA-E176-7488E27535DC}"/>
              </a:ext>
            </a:extLst>
          </p:cNvPr>
          <p:cNvSpPr>
            <a:spLocks noGrp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 sz="10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D8F187-3A2D-6183-5951-7FE376A5F6A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E14B87A5-DF5B-4A73-AB6B-3A3DBBF8F7F0}" type="slidenum">
              <a:rPr lang="de-DE"/>
              <a:pPr/>
              <a:t>‹Nr.›</a:t>
            </a:fld>
            <a:endParaRPr lang="de-DE" sz="100"/>
          </a:p>
        </p:txBody>
      </p:sp>
      <p:sp>
        <p:nvSpPr>
          <p:cNvPr id="2" name="SHAPE blau">
            <a:extLst>
              <a:ext uri="{FF2B5EF4-FFF2-40B4-BE49-F238E27FC236}">
                <a16:creationId xmlns:a16="http://schemas.microsoft.com/office/drawing/2014/main" id="{CD63B28D-C916-72D8-DA01-BABAB4CDBBA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spcAft>
                <a:spcPts val="400"/>
              </a:spcAft>
            </a:pPr>
            <a:endParaRPr lang="de-DE" sz="1600"/>
          </a:p>
        </p:txBody>
      </p:sp>
      <p:pic>
        <p:nvPicPr>
          <p:cNvPr id="4" name="DECO Supergrafik 6">
            <a:extLst>
              <a:ext uri="{FF2B5EF4-FFF2-40B4-BE49-F238E27FC236}">
                <a16:creationId xmlns:a16="http://schemas.microsoft.com/office/drawing/2014/main" id="{D82A3076-41B1-B7AE-D398-1113CE46381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3564" r="34474" b="22958"/>
          <a:stretch>
            <a:fillRect/>
          </a:stretch>
        </p:blipFill>
        <p:spPr>
          <a:xfrm>
            <a:off x="1" y="0"/>
            <a:ext cx="12191996" cy="6858000"/>
          </a:xfrm>
          <a:custGeom>
            <a:avLst/>
            <a:gdLst>
              <a:gd name="csX0" fmla="*/ 0 w 12191996"/>
              <a:gd name="csY0" fmla="*/ 0 h 6858000"/>
              <a:gd name="csX1" fmla="*/ 12191996 w 12191996"/>
              <a:gd name="csY1" fmla="*/ 0 h 6858000"/>
              <a:gd name="csX2" fmla="*/ 12191996 w 12191996"/>
              <a:gd name="csY2" fmla="*/ 6858000 h 6858000"/>
              <a:gd name="csX3" fmla="*/ 0 w 12191996"/>
              <a:gd name="csY3" fmla="*/ 6858000 h 6858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12191996" h="6858000">
                <a:moveTo>
                  <a:pt x="0" y="0"/>
                </a:moveTo>
                <a:lnTo>
                  <a:pt x="12191996" y="0"/>
                </a:lnTo>
                <a:lnTo>
                  <a:pt x="1219199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7" name="LOGO">
            <a:extLst>
              <a:ext uri="{FF2B5EF4-FFF2-40B4-BE49-F238E27FC236}">
                <a16:creationId xmlns:a16="http://schemas.microsoft.com/office/drawing/2014/main" id="{C51FA5BB-6224-005D-DDA7-E34F479A59F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201214" y="5044504"/>
            <a:ext cx="2642073" cy="1512000"/>
          </a:xfrm>
          <a:prstGeom prst="rect">
            <a:avLst/>
          </a:prstGeom>
        </p:spPr>
      </p:pic>
      <p:sp>
        <p:nvSpPr>
          <p:cNvPr id="13" name="Textplatzhalter">
            <a:extLst>
              <a:ext uri="{FF2B5EF4-FFF2-40B4-BE49-F238E27FC236}">
                <a16:creationId xmlns:a16="http://schemas.microsoft.com/office/drawing/2014/main" id="{62B179CC-B8B1-2C79-4C97-AB66EC4680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5325" y="1430011"/>
            <a:ext cx="5184651" cy="2557463"/>
          </a:xfrm>
        </p:spPr>
        <p:txBody>
          <a:bodyPr anchor="ctr"/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9" name="MIO_AGENDA_LAST_SLIDE" descr="Schließen mit einfarbiger Füllung" hidden="1">
            <a:extLst>
              <a:ext uri="{FF2B5EF4-FFF2-40B4-BE49-F238E27FC236}">
                <a16:creationId xmlns:a16="http://schemas.microsoft.com/office/drawing/2014/main" id="{06C155DE-E446-4376-7B95-9A424382E22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0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D10846CD-B166-0921-0F0A-D808A695DE9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2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200A6325-7481-ADF3-E2A0-80AE447F17E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5150691"/>
      </p:ext>
    </p:extLst>
  </p:cSld>
  <p:clrMapOvr>
    <a:masterClrMapping/>
  </p:clrMapOvr>
  <p:hf hd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botschaft NordNet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F06EC67-97FB-6CDA-E176-7488E27535DC}"/>
              </a:ext>
            </a:extLst>
          </p:cNvPr>
          <p:cNvSpPr>
            <a:spLocks noGrp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 sz="10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D8F187-3A2D-6183-5951-7FE376A5F6A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E14B87A5-DF5B-4A73-AB6B-3A3DBBF8F7F0}" type="slidenum">
              <a:rPr lang="de-DE"/>
              <a:pPr/>
              <a:t>‹Nr.›</a:t>
            </a:fld>
            <a:endParaRPr lang="de-DE" sz="100"/>
          </a:p>
        </p:txBody>
      </p:sp>
      <p:sp>
        <p:nvSpPr>
          <p:cNvPr id="2" name="SHAPE blau">
            <a:extLst>
              <a:ext uri="{FF2B5EF4-FFF2-40B4-BE49-F238E27FC236}">
                <a16:creationId xmlns:a16="http://schemas.microsoft.com/office/drawing/2014/main" id="{CD63B28D-C916-72D8-DA01-BABAB4CDBBA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spcAft>
                <a:spcPts val="400"/>
              </a:spcAft>
            </a:pPr>
            <a:endParaRPr lang="de-DE" sz="1600"/>
          </a:p>
        </p:txBody>
      </p:sp>
      <p:pic>
        <p:nvPicPr>
          <p:cNvPr id="4" name="DECO Supergrafik 6">
            <a:extLst>
              <a:ext uri="{FF2B5EF4-FFF2-40B4-BE49-F238E27FC236}">
                <a16:creationId xmlns:a16="http://schemas.microsoft.com/office/drawing/2014/main" id="{BAEDFBB6-3E53-6532-DC68-8C69640591D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3564" r="34474" b="22958"/>
          <a:stretch>
            <a:fillRect/>
          </a:stretch>
        </p:blipFill>
        <p:spPr>
          <a:xfrm>
            <a:off x="1" y="0"/>
            <a:ext cx="12191996" cy="6858000"/>
          </a:xfrm>
          <a:custGeom>
            <a:avLst/>
            <a:gdLst>
              <a:gd name="csX0" fmla="*/ 0 w 12191996"/>
              <a:gd name="csY0" fmla="*/ 0 h 6858000"/>
              <a:gd name="csX1" fmla="*/ 12191996 w 12191996"/>
              <a:gd name="csY1" fmla="*/ 0 h 6858000"/>
              <a:gd name="csX2" fmla="*/ 12191996 w 12191996"/>
              <a:gd name="csY2" fmla="*/ 6858000 h 6858000"/>
              <a:gd name="csX3" fmla="*/ 0 w 12191996"/>
              <a:gd name="csY3" fmla="*/ 6858000 h 6858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12191996" h="6858000">
                <a:moveTo>
                  <a:pt x="0" y="0"/>
                </a:moveTo>
                <a:lnTo>
                  <a:pt x="12191996" y="0"/>
                </a:lnTo>
                <a:lnTo>
                  <a:pt x="1219199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6" name="LOGO">
            <a:extLst>
              <a:ext uri="{FF2B5EF4-FFF2-40B4-BE49-F238E27FC236}">
                <a16:creationId xmlns:a16="http://schemas.microsoft.com/office/drawing/2014/main" id="{D4DB1CD9-E595-700B-3049-E8EAF2D8675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16378" y="5049180"/>
            <a:ext cx="2326909" cy="1512000"/>
          </a:xfrm>
          <a:prstGeom prst="rect">
            <a:avLst/>
          </a:prstGeom>
        </p:spPr>
      </p:pic>
      <p:sp>
        <p:nvSpPr>
          <p:cNvPr id="13" name="Textplatzhalter">
            <a:extLst>
              <a:ext uri="{FF2B5EF4-FFF2-40B4-BE49-F238E27FC236}">
                <a16:creationId xmlns:a16="http://schemas.microsoft.com/office/drawing/2014/main" id="{62B179CC-B8B1-2C79-4C97-AB66EC4680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5325" y="1430011"/>
            <a:ext cx="5184651" cy="2557463"/>
          </a:xfrm>
        </p:spPr>
        <p:txBody>
          <a:bodyPr anchor="ctr"/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9" name="MIO_AGENDA_LAST_SLIDE" descr="Schließen mit einfarbiger Füllung" hidden="1">
            <a:extLst>
              <a:ext uri="{FF2B5EF4-FFF2-40B4-BE49-F238E27FC236}">
                <a16:creationId xmlns:a16="http://schemas.microsoft.com/office/drawing/2014/main" id="{06C155DE-E446-4376-7B95-9A424382E22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0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D10846CD-B166-0921-0F0A-D808A695DE9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2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200A6325-7481-ADF3-E2A0-80AE447F17E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827999"/>
      </p:ext>
    </p:extLst>
  </p:cSld>
  <p:clrMapOvr>
    <a:masterClrMapping/>
  </p:clrMapOvr>
  <p:hf hd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botschaft InfraNo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F06EC67-97FB-6CDA-E176-7488E27535DC}"/>
              </a:ext>
            </a:extLst>
          </p:cNvPr>
          <p:cNvSpPr>
            <a:spLocks noGrp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 sz="10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D8F187-3A2D-6183-5951-7FE376A5F6A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E14B87A5-DF5B-4A73-AB6B-3A3DBBF8F7F0}" type="slidenum">
              <a:rPr lang="de-DE"/>
              <a:pPr/>
              <a:t>‹Nr.›</a:t>
            </a:fld>
            <a:endParaRPr lang="de-DE" sz="100"/>
          </a:p>
        </p:txBody>
      </p:sp>
      <p:sp>
        <p:nvSpPr>
          <p:cNvPr id="2" name="SHAPE blau">
            <a:extLst>
              <a:ext uri="{FF2B5EF4-FFF2-40B4-BE49-F238E27FC236}">
                <a16:creationId xmlns:a16="http://schemas.microsoft.com/office/drawing/2014/main" id="{CD63B28D-C916-72D8-DA01-BABAB4CDBBA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spcAft>
                <a:spcPts val="400"/>
              </a:spcAft>
            </a:pPr>
            <a:endParaRPr lang="de-DE" sz="1600"/>
          </a:p>
        </p:txBody>
      </p:sp>
      <p:pic>
        <p:nvPicPr>
          <p:cNvPr id="4" name="DECO Supergrafik 6">
            <a:extLst>
              <a:ext uri="{FF2B5EF4-FFF2-40B4-BE49-F238E27FC236}">
                <a16:creationId xmlns:a16="http://schemas.microsoft.com/office/drawing/2014/main" id="{549B3486-26C9-AD41-EDAC-A98215F5AF5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3564" r="34474" b="22958"/>
          <a:stretch>
            <a:fillRect/>
          </a:stretch>
        </p:blipFill>
        <p:spPr>
          <a:xfrm>
            <a:off x="1" y="0"/>
            <a:ext cx="12191996" cy="6858000"/>
          </a:xfrm>
          <a:custGeom>
            <a:avLst/>
            <a:gdLst>
              <a:gd name="csX0" fmla="*/ 0 w 12191996"/>
              <a:gd name="csY0" fmla="*/ 0 h 6858000"/>
              <a:gd name="csX1" fmla="*/ 12191996 w 12191996"/>
              <a:gd name="csY1" fmla="*/ 0 h 6858000"/>
              <a:gd name="csX2" fmla="*/ 12191996 w 12191996"/>
              <a:gd name="csY2" fmla="*/ 6858000 h 6858000"/>
              <a:gd name="csX3" fmla="*/ 0 w 12191996"/>
              <a:gd name="csY3" fmla="*/ 6858000 h 6858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12191996" h="6858000">
                <a:moveTo>
                  <a:pt x="0" y="0"/>
                </a:moveTo>
                <a:lnTo>
                  <a:pt x="12191996" y="0"/>
                </a:lnTo>
                <a:lnTo>
                  <a:pt x="1219199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6" name="LOGO">
            <a:extLst>
              <a:ext uri="{FF2B5EF4-FFF2-40B4-BE49-F238E27FC236}">
                <a16:creationId xmlns:a16="http://schemas.microsoft.com/office/drawing/2014/main" id="{9D7BC4CE-323E-099D-68F6-E08D61B2296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16378" y="5049180"/>
            <a:ext cx="2326909" cy="1512000"/>
          </a:xfrm>
          <a:prstGeom prst="rect">
            <a:avLst/>
          </a:prstGeom>
        </p:spPr>
      </p:pic>
      <p:sp>
        <p:nvSpPr>
          <p:cNvPr id="13" name="Textplatzhalter">
            <a:extLst>
              <a:ext uri="{FF2B5EF4-FFF2-40B4-BE49-F238E27FC236}">
                <a16:creationId xmlns:a16="http://schemas.microsoft.com/office/drawing/2014/main" id="{62B179CC-B8B1-2C79-4C97-AB66EC4680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5325" y="1430011"/>
            <a:ext cx="5184651" cy="2557463"/>
          </a:xfrm>
        </p:spPr>
        <p:txBody>
          <a:bodyPr anchor="ctr"/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9" name="MIO_AGENDA_LAST_SLIDE" descr="Schließen mit einfarbiger Füllung" hidden="1">
            <a:extLst>
              <a:ext uri="{FF2B5EF4-FFF2-40B4-BE49-F238E27FC236}">
                <a16:creationId xmlns:a16="http://schemas.microsoft.com/office/drawing/2014/main" id="{06C155DE-E446-4376-7B95-9A424382E22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0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D10846CD-B166-0921-0F0A-D808A695DE9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2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200A6325-7481-ADF3-E2A0-80AE447F17E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157878"/>
      </p:ext>
    </p:extLst>
  </p:cSld>
  <p:clrMapOvr>
    <a:masterClrMapping/>
  </p:clrMapOvr>
  <p:hf hdr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9483A00-0B6D-20B9-6CE5-36D5461F1F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A9CB60-17D9-41B3-BAD4-007686DF55FB}" type="datetime1">
              <a:rPr lang="de-DE"/>
              <a:t>27.05.2026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E2234014-D0C5-26EE-2AF3-8B42E5A5E9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DB95A0C-2E0F-7B00-9A9E-DC9C42FBFE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52000-F233-424B-BE1D-85370D294A4E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974F6CE-478A-DD26-9C89-FEA1A4046E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6088593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483">
          <p15:clr>
            <a:srgbClr val="FBAE40"/>
          </p15:clr>
        </p15:guide>
        <p15:guide id="2" pos="7197">
          <p15:clr>
            <a:srgbClr val="FBAE40"/>
          </p15:clr>
        </p15:guide>
        <p15:guide id="3" orient="horz" pos="935">
          <p15:clr>
            <a:srgbClr val="FBAE40"/>
          </p15:clr>
        </p15:guide>
        <p15:guide id="4" orient="horz" pos="365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9483A00-0B6D-20B9-6CE5-36D5461F1F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A9CB60-17D9-41B3-BAD4-007686DF55FB}" type="datetime1">
              <a:rPr lang="de-DE"/>
              <a:t>27.05.2026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E2234014-D0C5-26EE-2AF3-8B42E5A5E9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DB95A0C-2E0F-7B00-9A9E-DC9C42FBFE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52000-F233-424B-BE1D-85370D294A4E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974F6CE-478A-DD26-9C89-FEA1A4046E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7502886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483">
          <p15:clr>
            <a:srgbClr val="FBAE40"/>
          </p15:clr>
        </p15:guide>
        <p15:guide id="2" pos="7197">
          <p15:clr>
            <a:srgbClr val="FBAE40"/>
          </p15:clr>
        </p15:guide>
        <p15:guide id="3" orient="horz" pos="935">
          <p15:clr>
            <a:srgbClr val="FBAE40"/>
          </p15:clr>
        </p15:guide>
        <p15:guide id="4" orient="horz" pos="365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HanseG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906CD45-4BD7-7662-2BD1-F6F6802246AB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92BD8F7-1C8B-BE3B-9D15-75595C01DD58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E14B87A5-DF5B-4A73-AB6B-3A3DBBF8F7F0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9" name="SHAPE blau">
            <a:extLst>
              <a:ext uri="{FF2B5EF4-FFF2-40B4-BE49-F238E27FC236}">
                <a16:creationId xmlns:a16="http://schemas.microsoft.com/office/drawing/2014/main" id="{2EEF008A-BBC0-2501-DB82-88EEC5765B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spcAft>
                <a:spcPts val="400"/>
              </a:spcAft>
            </a:pPr>
            <a:endParaRPr lang="de-DE" sz="1600"/>
          </a:p>
        </p:txBody>
      </p:sp>
      <p:pic>
        <p:nvPicPr>
          <p:cNvPr id="8" name="DECO Supergrafik 2">
            <a:extLst>
              <a:ext uri="{FF2B5EF4-FFF2-40B4-BE49-F238E27FC236}">
                <a16:creationId xmlns:a16="http://schemas.microsoft.com/office/drawing/2014/main" id="{F7D9285E-892A-B76A-C781-5B179F3CF6D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6177" t="1563" b="1723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LOGO">
            <a:extLst>
              <a:ext uri="{FF2B5EF4-FFF2-40B4-BE49-F238E27FC236}">
                <a16:creationId xmlns:a16="http://schemas.microsoft.com/office/drawing/2014/main" id="{F17492A5-891D-331A-2DB6-8BAE2B802B6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17072" y="5049180"/>
            <a:ext cx="2427054" cy="1512000"/>
          </a:xfrm>
          <a:prstGeom prst="rect">
            <a:avLst/>
          </a:prstGeom>
        </p:spPr>
      </p:pic>
      <p:sp>
        <p:nvSpPr>
          <p:cNvPr id="3" name="Untertitel">
            <a:extLst>
              <a:ext uri="{FF2B5EF4-FFF2-40B4-BE49-F238E27FC236}">
                <a16:creationId xmlns:a16="http://schemas.microsoft.com/office/drawing/2014/main" id="{EBFF5A12-9B86-06E6-5D0E-381EF8FF1D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5" y="2493000"/>
            <a:ext cx="6912000" cy="936000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F28519F1-D514-3057-1CD6-A1BF132B38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5325" y="672677"/>
            <a:ext cx="7884951" cy="1661993"/>
          </a:xfrm>
        </p:spPr>
        <p:txBody>
          <a:bodyPr anchor="b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1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CD96616E-5CA4-C70D-5511-FD922F385F5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2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DCBF1017-F3FA-1906-B71E-0163122A707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743307"/>
      </p:ext>
    </p:extLst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ElbEnerg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906CD45-4BD7-7662-2BD1-F6F6802246AB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92BD8F7-1C8B-BE3B-9D15-75595C01DD58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E14B87A5-DF5B-4A73-AB6B-3A3DBBF8F7F0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9" name="SHAPE blau">
            <a:extLst>
              <a:ext uri="{FF2B5EF4-FFF2-40B4-BE49-F238E27FC236}">
                <a16:creationId xmlns:a16="http://schemas.microsoft.com/office/drawing/2014/main" id="{2EEF008A-BBC0-2501-DB82-88EEC5765B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spcAft>
                <a:spcPts val="400"/>
              </a:spcAft>
            </a:pPr>
            <a:endParaRPr lang="de-DE" sz="1600"/>
          </a:p>
        </p:txBody>
      </p:sp>
      <p:pic>
        <p:nvPicPr>
          <p:cNvPr id="8" name="DECO Supergrafik 2">
            <a:extLst>
              <a:ext uri="{FF2B5EF4-FFF2-40B4-BE49-F238E27FC236}">
                <a16:creationId xmlns:a16="http://schemas.microsoft.com/office/drawing/2014/main" id="{F7D9285E-892A-B76A-C781-5B179F3CF6D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6177" t="1563" b="1723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LOGO">
            <a:extLst>
              <a:ext uri="{FF2B5EF4-FFF2-40B4-BE49-F238E27FC236}">
                <a16:creationId xmlns:a16="http://schemas.microsoft.com/office/drawing/2014/main" id="{5EE1393D-089C-F778-218B-E0C74D75329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201214" y="5044504"/>
            <a:ext cx="2642073" cy="1512000"/>
          </a:xfrm>
          <a:prstGeom prst="rect">
            <a:avLst/>
          </a:prstGeom>
        </p:spPr>
      </p:pic>
      <p:sp>
        <p:nvSpPr>
          <p:cNvPr id="3" name="Untertitel">
            <a:extLst>
              <a:ext uri="{FF2B5EF4-FFF2-40B4-BE49-F238E27FC236}">
                <a16:creationId xmlns:a16="http://schemas.microsoft.com/office/drawing/2014/main" id="{EBFF5A12-9B86-06E6-5D0E-381EF8FF1D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5" y="2493000"/>
            <a:ext cx="6912000" cy="936000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F28519F1-D514-3057-1CD6-A1BF132B38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5325" y="672677"/>
            <a:ext cx="7884951" cy="1661993"/>
          </a:xfrm>
        </p:spPr>
        <p:txBody>
          <a:bodyPr anchor="b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1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CD96616E-5CA4-C70D-5511-FD922F385F5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2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DCBF1017-F3FA-1906-B71E-0163122A707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045176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NordNet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906CD45-4BD7-7662-2BD1-F6F6802246AB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92BD8F7-1C8B-BE3B-9D15-75595C01DD58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E14B87A5-DF5B-4A73-AB6B-3A3DBBF8F7F0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9" name="SHAPE blau">
            <a:extLst>
              <a:ext uri="{FF2B5EF4-FFF2-40B4-BE49-F238E27FC236}">
                <a16:creationId xmlns:a16="http://schemas.microsoft.com/office/drawing/2014/main" id="{2EEF008A-BBC0-2501-DB82-88EEC5765B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spcAft>
                <a:spcPts val="400"/>
              </a:spcAft>
            </a:pPr>
            <a:endParaRPr lang="de-DE" sz="1600"/>
          </a:p>
        </p:txBody>
      </p:sp>
      <p:pic>
        <p:nvPicPr>
          <p:cNvPr id="8" name="DECO Supergrafik 2">
            <a:extLst>
              <a:ext uri="{FF2B5EF4-FFF2-40B4-BE49-F238E27FC236}">
                <a16:creationId xmlns:a16="http://schemas.microsoft.com/office/drawing/2014/main" id="{F7D9285E-892A-B76A-C781-5B179F3CF6D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6177" t="1563" b="1723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LOGO">
            <a:extLst>
              <a:ext uri="{FF2B5EF4-FFF2-40B4-BE49-F238E27FC236}">
                <a16:creationId xmlns:a16="http://schemas.microsoft.com/office/drawing/2014/main" id="{EFA4D8F0-2812-A885-53E7-9941136F087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16378" y="5049180"/>
            <a:ext cx="2326909" cy="1512000"/>
          </a:xfrm>
          <a:prstGeom prst="rect">
            <a:avLst/>
          </a:prstGeom>
        </p:spPr>
      </p:pic>
      <p:sp>
        <p:nvSpPr>
          <p:cNvPr id="3" name="Untertitel">
            <a:extLst>
              <a:ext uri="{FF2B5EF4-FFF2-40B4-BE49-F238E27FC236}">
                <a16:creationId xmlns:a16="http://schemas.microsoft.com/office/drawing/2014/main" id="{EBFF5A12-9B86-06E6-5D0E-381EF8FF1D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5" y="2493000"/>
            <a:ext cx="6912000" cy="936000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F28519F1-D514-3057-1CD6-A1BF132B38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5325" y="672677"/>
            <a:ext cx="7884951" cy="1661993"/>
          </a:xfrm>
        </p:spPr>
        <p:txBody>
          <a:bodyPr anchor="b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D94B3DB8-ABD6-305C-0CBA-8B2CE43FEA4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3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A1D5FA62-8D8F-D40F-BCE2-18219D53A7D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205065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InfraNo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906CD45-4BD7-7662-2BD1-F6F6802246AB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92BD8F7-1C8B-BE3B-9D15-75595C01DD58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E14B87A5-DF5B-4A73-AB6B-3A3DBBF8F7F0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9" name="SHAPE blau">
            <a:extLst>
              <a:ext uri="{FF2B5EF4-FFF2-40B4-BE49-F238E27FC236}">
                <a16:creationId xmlns:a16="http://schemas.microsoft.com/office/drawing/2014/main" id="{2EEF008A-BBC0-2501-DB82-88EEC5765B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spcAft>
                <a:spcPts val="400"/>
              </a:spcAft>
            </a:pPr>
            <a:endParaRPr lang="de-DE" sz="1600"/>
          </a:p>
        </p:txBody>
      </p:sp>
      <p:pic>
        <p:nvPicPr>
          <p:cNvPr id="8" name="DECO Supergrafik 2">
            <a:extLst>
              <a:ext uri="{FF2B5EF4-FFF2-40B4-BE49-F238E27FC236}">
                <a16:creationId xmlns:a16="http://schemas.microsoft.com/office/drawing/2014/main" id="{F7D9285E-892A-B76A-C781-5B179F3CF6D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6177" t="1563" b="1723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LOGO">
            <a:extLst>
              <a:ext uri="{FF2B5EF4-FFF2-40B4-BE49-F238E27FC236}">
                <a16:creationId xmlns:a16="http://schemas.microsoft.com/office/drawing/2014/main" id="{B698C12C-9CB8-6362-6F42-8AF2E297E9D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16378" y="5049180"/>
            <a:ext cx="2326909" cy="1512000"/>
          </a:xfrm>
          <a:prstGeom prst="rect">
            <a:avLst/>
          </a:prstGeom>
        </p:spPr>
      </p:pic>
      <p:sp>
        <p:nvSpPr>
          <p:cNvPr id="3" name="Untertitel">
            <a:extLst>
              <a:ext uri="{FF2B5EF4-FFF2-40B4-BE49-F238E27FC236}">
                <a16:creationId xmlns:a16="http://schemas.microsoft.com/office/drawing/2014/main" id="{EBFF5A12-9B86-06E6-5D0E-381EF8FF1D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5" y="2493000"/>
            <a:ext cx="6912000" cy="936000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F28519F1-D514-3057-1CD6-A1BF132B38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5325" y="672677"/>
            <a:ext cx="7884951" cy="1661993"/>
          </a:xfrm>
        </p:spPr>
        <p:txBody>
          <a:bodyPr anchor="b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1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CD96616E-5CA4-C70D-5511-FD922F385F5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2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DCBF1017-F3FA-1906-B71E-0163122A707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296813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weiß">
            <a:extLst>
              <a:ext uri="{FF2B5EF4-FFF2-40B4-BE49-F238E27FC236}">
                <a16:creationId xmlns:a16="http://schemas.microsoft.com/office/drawing/2014/main" id="{0A9AF704-52AA-BC7B-84DF-1FF0325821A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spcAft>
                <a:spcPts val="400"/>
              </a:spcAft>
            </a:pPr>
            <a:endParaRPr lang="de-DE" sz="160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F06EC67-97FB-6CDA-E176-7488E27535DC}"/>
              </a:ext>
            </a:extLst>
          </p:cNvPr>
          <p:cNvSpPr>
            <a:spLocks noGrp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 sz="10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D8F187-3A2D-6183-5951-7FE376A5F6A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E14B87A5-DF5B-4A73-AB6B-3A3DBBF8F7F0}" type="slidenum">
              <a:rPr lang="de-DE"/>
              <a:pPr/>
              <a:t>‹Nr.›</a:t>
            </a:fld>
            <a:endParaRPr lang="de-DE" sz="100"/>
          </a:p>
        </p:txBody>
      </p:sp>
      <p:sp>
        <p:nvSpPr>
          <p:cNvPr id="19" name="Textplatzhalter Content 5">
            <a:extLst>
              <a:ext uri="{FF2B5EF4-FFF2-40B4-BE49-F238E27FC236}">
                <a16:creationId xmlns:a16="http://schemas.microsoft.com/office/drawing/2014/main" id="{67A3D432-5AD5-88FF-E4CC-7924CBCE74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314315" y="5304207"/>
            <a:ext cx="8026374" cy="648000"/>
          </a:xfrm>
        </p:spPr>
        <p:txBody>
          <a:bodyPr bIns="36000"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Agendapunkt durch Klicken bearbeiten</a:t>
            </a:r>
            <a:br>
              <a:rPr lang="de-DE"/>
            </a:br>
            <a:r>
              <a:rPr lang="de-DE"/>
              <a:t>maximal zweizeilig</a:t>
            </a:r>
          </a:p>
        </p:txBody>
      </p:sp>
      <p:sp>
        <p:nvSpPr>
          <p:cNvPr id="20" name="Textplatzhalter Content 4">
            <a:extLst>
              <a:ext uri="{FF2B5EF4-FFF2-40B4-BE49-F238E27FC236}">
                <a16:creationId xmlns:a16="http://schemas.microsoft.com/office/drawing/2014/main" id="{E02EB647-B16B-3D13-FFC1-23DC3B9400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309713" y="4421464"/>
            <a:ext cx="8026374" cy="648000"/>
          </a:xfrm>
        </p:spPr>
        <p:txBody>
          <a:bodyPr bIns="36000"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Agendapunkt durch Klicken bearbeiten</a:t>
            </a:r>
            <a:br>
              <a:rPr lang="de-DE"/>
            </a:br>
            <a:r>
              <a:rPr lang="de-DE"/>
              <a:t>maximal zweizeilig</a:t>
            </a:r>
          </a:p>
        </p:txBody>
      </p:sp>
      <p:sp>
        <p:nvSpPr>
          <p:cNvPr id="22" name="Textplatzhalter Content 3">
            <a:extLst>
              <a:ext uri="{FF2B5EF4-FFF2-40B4-BE49-F238E27FC236}">
                <a16:creationId xmlns:a16="http://schemas.microsoft.com/office/drawing/2014/main" id="{8141EED5-4F50-1AE9-7FC5-3A3E1C38EAD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309713" y="3538722"/>
            <a:ext cx="8026374" cy="648000"/>
          </a:xfrm>
        </p:spPr>
        <p:txBody>
          <a:bodyPr bIns="36000"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Agendapunkt durch Klicken bearbeiten</a:t>
            </a:r>
            <a:br>
              <a:rPr lang="de-DE"/>
            </a:br>
            <a:r>
              <a:rPr lang="de-DE"/>
              <a:t>maximal zweizeilig</a:t>
            </a:r>
          </a:p>
        </p:txBody>
      </p:sp>
      <p:sp>
        <p:nvSpPr>
          <p:cNvPr id="24" name="Textplatzhalter Content 2">
            <a:extLst>
              <a:ext uri="{FF2B5EF4-FFF2-40B4-BE49-F238E27FC236}">
                <a16:creationId xmlns:a16="http://schemas.microsoft.com/office/drawing/2014/main" id="{D02D1591-A546-EA12-8933-4C355AF374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309713" y="2655980"/>
            <a:ext cx="8026374" cy="648000"/>
          </a:xfrm>
        </p:spPr>
        <p:txBody>
          <a:bodyPr bIns="36000"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Agendapunkt durch Klicken bearbeiten</a:t>
            </a:r>
            <a:br>
              <a:rPr lang="de-DE"/>
            </a:br>
            <a:r>
              <a:rPr lang="de-DE"/>
              <a:t>maximal zweizeilig</a:t>
            </a:r>
          </a:p>
        </p:txBody>
      </p:sp>
      <p:sp>
        <p:nvSpPr>
          <p:cNvPr id="26" name="Textplatzhalter Content 1">
            <a:extLst>
              <a:ext uri="{FF2B5EF4-FFF2-40B4-BE49-F238E27FC236}">
                <a16:creationId xmlns:a16="http://schemas.microsoft.com/office/drawing/2014/main" id="{1F2CB8F7-3336-013B-076A-D9E509FCBB4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309712" y="1773238"/>
            <a:ext cx="8026374" cy="648000"/>
          </a:xfrm>
        </p:spPr>
        <p:txBody>
          <a:bodyPr bIns="36000"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Agendapunkt durch Klicken bearbeiten</a:t>
            </a:r>
            <a:br>
              <a:rPr lang="de-DE"/>
            </a:br>
            <a:r>
              <a:rPr lang="de-DE"/>
              <a:t>maximal zweizeilig</a:t>
            </a:r>
          </a:p>
        </p:txBody>
      </p:sp>
      <p:sp>
        <p:nvSpPr>
          <p:cNvPr id="9" name="Textplatzhalter NR 5">
            <a:extLst>
              <a:ext uri="{FF2B5EF4-FFF2-40B4-BE49-F238E27FC236}">
                <a16:creationId xmlns:a16="http://schemas.microsoft.com/office/drawing/2014/main" id="{55FECAAD-5553-5C08-B319-79BC338647B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703778" y="5304207"/>
            <a:ext cx="540000" cy="648000"/>
          </a:xfrm>
        </p:spPr>
        <p:txBody>
          <a:bodyPr anchor="ctr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11" name="Textplatzhalter NR 4">
            <a:extLst>
              <a:ext uri="{FF2B5EF4-FFF2-40B4-BE49-F238E27FC236}">
                <a16:creationId xmlns:a16="http://schemas.microsoft.com/office/drawing/2014/main" id="{E5C6987B-E438-8FAD-5B2F-6E16AC5D7D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95325" y="4421464"/>
            <a:ext cx="540000" cy="648000"/>
          </a:xfrm>
        </p:spPr>
        <p:txBody>
          <a:bodyPr anchor="ctr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14" name="Textplatzhalter NR 3">
            <a:extLst>
              <a:ext uri="{FF2B5EF4-FFF2-40B4-BE49-F238E27FC236}">
                <a16:creationId xmlns:a16="http://schemas.microsoft.com/office/drawing/2014/main" id="{7D561D3B-B67F-2CEB-8966-A3D9E3122E8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325" y="3538722"/>
            <a:ext cx="540000" cy="648000"/>
          </a:xfrm>
        </p:spPr>
        <p:txBody>
          <a:bodyPr anchor="ctr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16" name="Textplatzhalter NR 2">
            <a:extLst>
              <a:ext uri="{FF2B5EF4-FFF2-40B4-BE49-F238E27FC236}">
                <a16:creationId xmlns:a16="http://schemas.microsoft.com/office/drawing/2014/main" id="{6AF5DAEF-32B0-2795-C4FC-FBCC829589F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325" y="2655980"/>
            <a:ext cx="540000" cy="648000"/>
          </a:xfrm>
        </p:spPr>
        <p:txBody>
          <a:bodyPr anchor="ctr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18" name="Textplatzhalter NR 1">
            <a:extLst>
              <a:ext uri="{FF2B5EF4-FFF2-40B4-BE49-F238E27FC236}">
                <a16:creationId xmlns:a16="http://schemas.microsoft.com/office/drawing/2014/main" id="{0AE1B244-2E91-5E4A-D786-AEE1B4825B8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95325" y="1773238"/>
            <a:ext cx="540000" cy="648000"/>
          </a:xfrm>
        </p:spPr>
        <p:txBody>
          <a:bodyPr anchor="ctr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13" name="Titel">
            <a:extLst>
              <a:ext uri="{FF2B5EF4-FFF2-40B4-BE49-F238E27FC236}">
                <a16:creationId xmlns:a16="http://schemas.microsoft.com/office/drawing/2014/main" id="{0F7551EA-552A-B799-7BDF-147D9D5F57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pic>
        <p:nvPicPr>
          <p:cNvPr id="10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2A6D3CE5-CFA2-357D-23EF-D3605C90BE5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2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496E10DB-D44E-0E2F-245B-C0E6EDD2F64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8900830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HAPE weiß">
            <a:extLst>
              <a:ext uri="{FF2B5EF4-FFF2-40B4-BE49-F238E27FC236}">
                <a16:creationId xmlns:a16="http://schemas.microsoft.com/office/drawing/2014/main" id="{52A16F98-9250-D4DF-E837-C831532A38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spcAft>
                <a:spcPts val="400"/>
              </a:spcAft>
            </a:pPr>
            <a:endParaRPr lang="de-DE" sz="160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F06EC67-97FB-6CDA-E176-7488E27535DC}"/>
              </a:ext>
            </a:extLst>
          </p:cNvPr>
          <p:cNvSpPr>
            <a:spLocks noGrp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 sz="10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D8F187-3A2D-6183-5951-7FE376A5F6A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E14B87A5-DF5B-4A73-AB6B-3A3DBBF8F7F0}" type="slidenum">
              <a:rPr lang="de-DE"/>
              <a:pPr/>
              <a:t>‹Nr.›</a:t>
            </a:fld>
            <a:endParaRPr lang="de-DE" sz="100"/>
          </a:p>
        </p:txBody>
      </p:sp>
      <p:sp>
        <p:nvSpPr>
          <p:cNvPr id="19" name="Textplatzhalter Content 8">
            <a:extLst>
              <a:ext uri="{FF2B5EF4-FFF2-40B4-BE49-F238E27FC236}">
                <a16:creationId xmlns:a16="http://schemas.microsoft.com/office/drawing/2014/main" id="{67A3D432-5AD5-88FF-E4CC-7924CBCE74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978001" y="5301950"/>
            <a:ext cx="4518000" cy="648000"/>
          </a:xfrm>
        </p:spPr>
        <p:txBody>
          <a:bodyPr bIns="36000"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Agendapunkt durch Klicken bearbeiten</a:t>
            </a:r>
            <a:br>
              <a:rPr lang="de-DE"/>
            </a:br>
            <a:r>
              <a:rPr lang="de-DE"/>
              <a:t>maximal zweizeilig</a:t>
            </a:r>
          </a:p>
        </p:txBody>
      </p:sp>
      <p:sp>
        <p:nvSpPr>
          <p:cNvPr id="20" name="Textplatzhalter Content 7">
            <a:extLst>
              <a:ext uri="{FF2B5EF4-FFF2-40B4-BE49-F238E27FC236}">
                <a16:creationId xmlns:a16="http://schemas.microsoft.com/office/drawing/2014/main" id="{E02EB647-B16B-3D13-FFC1-23DC3B9400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309713" y="5301950"/>
            <a:ext cx="4518000" cy="648000"/>
          </a:xfrm>
        </p:spPr>
        <p:txBody>
          <a:bodyPr bIns="36000"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Agendapunkt durch Klicken bearbeiten</a:t>
            </a:r>
            <a:br>
              <a:rPr lang="de-DE"/>
            </a:br>
            <a:r>
              <a:rPr lang="de-DE"/>
              <a:t>maximal zweizeilig</a:t>
            </a:r>
          </a:p>
        </p:txBody>
      </p:sp>
      <p:sp>
        <p:nvSpPr>
          <p:cNvPr id="21" name="Textplatzhalter Content 6">
            <a:extLst>
              <a:ext uri="{FF2B5EF4-FFF2-40B4-BE49-F238E27FC236}">
                <a16:creationId xmlns:a16="http://schemas.microsoft.com/office/drawing/2014/main" id="{3A782B44-8D3F-8D18-1626-FF1119BD946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978001" y="4125712"/>
            <a:ext cx="4518000" cy="648000"/>
          </a:xfrm>
        </p:spPr>
        <p:txBody>
          <a:bodyPr bIns="36000"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Agendapunkt durch Klicken bearbeiten</a:t>
            </a:r>
            <a:br>
              <a:rPr lang="de-DE"/>
            </a:br>
            <a:r>
              <a:rPr lang="de-DE"/>
              <a:t>maximal zweizeilig</a:t>
            </a:r>
          </a:p>
        </p:txBody>
      </p:sp>
      <p:sp>
        <p:nvSpPr>
          <p:cNvPr id="22" name="Textplatzhalter Content 5">
            <a:extLst>
              <a:ext uri="{FF2B5EF4-FFF2-40B4-BE49-F238E27FC236}">
                <a16:creationId xmlns:a16="http://schemas.microsoft.com/office/drawing/2014/main" id="{8141EED5-4F50-1AE9-7FC5-3A3E1C38EAD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309713" y="4125712"/>
            <a:ext cx="4518000" cy="648000"/>
          </a:xfrm>
        </p:spPr>
        <p:txBody>
          <a:bodyPr bIns="36000"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Agendapunkt durch Klicken bearbeiten</a:t>
            </a:r>
            <a:br>
              <a:rPr lang="de-DE"/>
            </a:br>
            <a:r>
              <a:rPr lang="de-DE"/>
              <a:t>maximal zweizeilig</a:t>
            </a:r>
          </a:p>
        </p:txBody>
      </p:sp>
      <p:sp>
        <p:nvSpPr>
          <p:cNvPr id="23" name="Textplatzhalter Content 4">
            <a:extLst>
              <a:ext uri="{FF2B5EF4-FFF2-40B4-BE49-F238E27FC236}">
                <a16:creationId xmlns:a16="http://schemas.microsoft.com/office/drawing/2014/main" id="{DE64914E-7C97-F260-F3F2-A80F4BA5E8D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978001" y="2949474"/>
            <a:ext cx="4518000" cy="648000"/>
          </a:xfrm>
        </p:spPr>
        <p:txBody>
          <a:bodyPr bIns="36000"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Agendapunkt durch Klicken bearbeiten</a:t>
            </a:r>
            <a:br>
              <a:rPr lang="de-DE"/>
            </a:br>
            <a:r>
              <a:rPr lang="de-DE"/>
              <a:t>maximal zweizeilig</a:t>
            </a:r>
          </a:p>
        </p:txBody>
      </p:sp>
      <p:sp>
        <p:nvSpPr>
          <p:cNvPr id="24" name="Textplatzhalter Content 3">
            <a:extLst>
              <a:ext uri="{FF2B5EF4-FFF2-40B4-BE49-F238E27FC236}">
                <a16:creationId xmlns:a16="http://schemas.microsoft.com/office/drawing/2014/main" id="{D02D1591-A546-EA12-8933-4C355AF374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309713" y="2949475"/>
            <a:ext cx="4518000" cy="648000"/>
          </a:xfrm>
        </p:spPr>
        <p:txBody>
          <a:bodyPr bIns="36000"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Agendapunkt durch Klicken bearbeiten</a:t>
            </a:r>
            <a:br>
              <a:rPr lang="de-DE"/>
            </a:br>
            <a:r>
              <a:rPr lang="de-DE"/>
              <a:t>maximal zweizeilig</a:t>
            </a:r>
          </a:p>
        </p:txBody>
      </p:sp>
      <p:sp>
        <p:nvSpPr>
          <p:cNvPr id="25" name="Textplatzhalter Content 2">
            <a:extLst>
              <a:ext uri="{FF2B5EF4-FFF2-40B4-BE49-F238E27FC236}">
                <a16:creationId xmlns:a16="http://schemas.microsoft.com/office/drawing/2014/main" id="{D0877066-4BF9-A231-B55D-821E51DC0EF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978001" y="1773238"/>
            <a:ext cx="4518000" cy="648000"/>
          </a:xfrm>
        </p:spPr>
        <p:txBody>
          <a:bodyPr bIns="36000"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Agendapunkt durch Klicken bearbeiten</a:t>
            </a:r>
            <a:br>
              <a:rPr lang="de-DE"/>
            </a:br>
            <a:r>
              <a:rPr lang="de-DE"/>
              <a:t>maximal zweizeilig</a:t>
            </a:r>
          </a:p>
        </p:txBody>
      </p:sp>
      <p:sp>
        <p:nvSpPr>
          <p:cNvPr id="26" name="Textplatzhalter Content 1">
            <a:extLst>
              <a:ext uri="{FF2B5EF4-FFF2-40B4-BE49-F238E27FC236}">
                <a16:creationId xmlns:a16="http://schemas.microsoft.com/office/drawing/2014/main" id="{1F2CB8F7-3336-013B-076A-D9E509FCBB4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309713" y="1773238"/>
            <a:ext cx="4518000" cy="648000"/>
          </a:xfrm>
        </p:spPr>
        <p:txBody>
          <a:bodyPr bIns="36000"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Agendapunkt durch Klicken bearbeiten</a:t>
            </a:r>
            <a:br>
              <a:rPr lang="de-DE"/>
            </a:br>
            <a:r>
              <a:rPr lang="de-DE"/>
              <a:t>maximal zweizeilig</a:t>
            </a:r>
          </a:p>
        </p:txBody>
      </p:sp>
      <p:sp>
        <p:nvSpPr>
          <p:cNvPr id="9" name="Textplatzhalter NR 8">
            <a:extLst>
              <a:ext uri="{FF2B5EF4-FFF2-40B4-BE49-F238E27FC236}">
                <a16:creationId xmlns:a16="http://schemas.microsoft.com/office/drawing/2014/main" id="{55FECAAD-5553-5C08-B319-79BC338647B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367463" y="5301950"/>
            <a:ext cx="540000" cy="648000"/>
          </a:xfrm>
        </p:spPr>
        <p:txBody>
          <a:bodyPr anchor="ctr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11" name="Textplatzhalter NR 7">
            <a:extLst>
              <a:ext uri="{FF2B5EF4-FFF2-40B4-BE49-F238E27FC236}">
                <a16:creationId xmlns:a16="http://schemas.microsoft.com/office/drawing/2014/main" id="{E5C6987B-E438-8FAD-5B2F-6E16AC5D7D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95325" y="5301950"/>
            <a:ext cx="540000" cy="648000"/>
          </a:xfrm>
        </p:spPr>
        <p:txBody>
          <a:bodyPr anchor="ctr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12" name="Textplatzhalter NR 6">
            <a:extLst>
              <a:ext uri="{FF2B5EF4-FFF2-40B4-BE49-F238E27FC236}">
                <a16:creationId xmlns:a16="http://schemas.microsoft.com/office/drawing/2014/main" id="{64C6B0F9-633B-5646-B0A0-98EF6B7FBB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367463" y="4125712"/>
            <a:ext cx="540000" cy="648000"/>
          </a:xfrm>
        </p:spPr>
        <p:txBody>
          <a:bodyPr anchor="ctr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14" name="Textplatzhalter NR 5">
            <a:extLst>
              <a:ext uri="{FF2B5EF4-FFF2-40B4-BE49-F238E27FC236}">
                <a16:creationId xmlns:a16="http://schemas.microsoft.com/office/drawing/2014/main" id="{7D561D3B-B67F-2CEB-8966-A3D9E3122E8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325" y="4125712"/>
            <a:ext cx="540000" cy="648000"/>
          </a:xfrm>
        </p:spPr>
        <p:txBody>
          <a:bodyPr anchor="ctr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15" name="Textplatzhalter NR 4">
            <a:extLst>
              <a:ext uri="{FF2B5EF4-FFF2-40B4-BE49-F238E27FC236}">
                <a16:creationId xmlns:a16="http://schemas.microsoft.com/office/drawing/2014/main" id="{B7198317-28EB-DE66-59DA-3A831A6D6E8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367463" y="2949474"/>
            <a:ext cx="540000" cy="648000"/>
          </a:xfrm>
        </p:spPr>
        <p:txBody>
          <a:bodyPr anchor="ctr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16" name="Textplatzhalter NR 3">
            <a:extLst>
              <a:ext uri="{FF2B5EF4-FFF2-40B4-BE49-F238E27FC236}">
                <a16:creationId xmlns:a16="http://schemas.microsoft.com/office/drawing/2014/main" id="{6AF5DAEF-32B0-2795-C4FC-FBCC829589F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325" y="2949475"/>
            <a:ext cx="540000" cy="648000"/>
          </a:xfrm>
        </p:spPr>
        <p:txBody>
          <a:bodyPr anchor="ctr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17" name="Textplatzhalter NR 2">
            <a:extLst>
              <a:ext uri="{FF2B5EF4-FFF2-40B4-BE49-F238E27FC236}">
                <a16:creationId xmlns:a16="http://schemas.microsoft.com/office/drawing/2014/main" id="{2BD0CF96-4495-9FD9-D883-0836D15BF6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367463" y="1773238"/>
            <a:ext cx="540000" cy="648000"/>
          </a:xfrm>
        </p:spPr>
        <p:txBody>
          <a:bodyPr anchor="ctr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18" name="Textplatzhalter NR 1">
            <a:extLst>
              <a:ext uri="{FF2B5EF4-FFF2-40B4-BE49-F238E27FC236}">
                <a16:creationId xmlns:a16="http://schemas.microsoft.com/office/drawing/2014/main" id="{0AE1B244-2E91-5E4A-D786-AEE1B4825B8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95325" y="1773238"/>
            <a:ext cx="540000" cy="648000"/>
          </a:xfrm>
        </p:spPr>
        <p:txBody>
          <a:bodyPr anchor="ctr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5400"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6" name="Titel">
            <a:extLst>
              <a:ext uri="{FF2B5EF4-FFF2-40B4-BE49-F238E27FC236}">
                <a16:creationId xmlns:a16="http://schemas.microsoft.com/office/drawing/2014/main" id="{4E366601-BFB2-B2FC-1E80-735FE86787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pic>
        <p:nvPicPr>
          <p:cNvPr id="10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D5B1231F-7F4C-53C9-A25D-82467E5F04D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3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2D331E0A-CCA8-972B-FD15-844BA5927B7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443895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2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image" Target="../media/image1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Dunkelblau">
            <a:extLst>
              <a:ext uri="{FF2B5EF4-FFF2-40B4-BE49-F238E27FC236}">
                <a16:creationId xmlns:a16="http://schemas.microsoft.com/office/drawing/2014/main" id="{B4327811-4E00-E42F-8539-375F10DC3C01}"/>
              </a:ext>
            </a:extLst>
          </p:cNvPr>
          <p:cNvSpPr/>
          <p:nvPr userDrawn="1"/>
        </p:nvSpPr>
        <p:spPr>
          <a:xfrm>
            <a:off x="0" y="6300679"/>
            <a:ext cx="12192000" cy="5573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 defTabSz="540000">
              <a:spcAft>
                <a:spcPts val="400"/>
              </a:spcAft>
            </a:pPr>
            <a:endParaRPr lang="de-DE" sz="1600"/>
          </a:p>
        </p:txBody>
      </p:sp>
      <p:pic>
        <p:nvPicPr>
          <p:cNvPr id="15" name="DECO Supergrafik">
            <a:extLst>
              <a:ext uri="{FF2B5EF4-FFF2-40B4-BE49-F238E27FC236}">
                <a16:creationId xmlns:a16="http://schemas.microsoft.com/office/drawing/2014/main" id="{022A9B30-6631-D2F2-844A-18F7418E2B6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rcRect l="91873"/>
          <a:stretch>
            <a:fillRect/>
          </a:stretch>
        </p:blipFill>
        <p:spPr>
          <a:xfrm rot="16200000" flipH="1">
            <a:off x="8829078" y="3495078"/>
            <a:ext cx="557321" cy="6168522"/>
          </a:xfrm>
          <a:prstGeom prst="rect">
            <a:avLst/>
          </a:prstGeom>
        </p:spPr>
      </p:pic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6F8A599-5886-37FD-01E8-5A12FE01D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000" y="656875"/>
            <a:ext cx="10800000" cy="75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138F643-73A5-D134-C198-F9CC954C87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6000" y="1773237"/>
            <a:ext cx="10800000" cy="417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00C62A-E988-A364-0F5E-F22F34C17C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6001" y="6489340"/>
            <a:ext cx="5328001" cy="180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 defTabSz="540000">
              <a:defRPr sz="800"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E5C4003-7666-A3E6-1C0F-5CC41CC728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3703" y="6489340"/>
            <a:ext cx="360001" cy="180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 defTabSz="540000">
              <a:defRPr sz="800" b="1">
                <a:solidFill>
                  <a:schemeClr val="bg1"/>
                </a:solidFill>
                <a:latin typeface="+mj-lt"/>
              </a:defRPr>
            </a:lvl1pPr>
          </a:lstStyle>
          <a:p>
            <a:fld id="{E14B87A5-DF5B-4A73-AB6B-3A3DBBF8F7F0}" type="slidenum">
              <a:rPr lang="de-DE"/>
              <a:pPr/>
              <a:t>‹Nr.›</a:t>
            </a:fld>
            <a:endParaRPr lang="de-DE" b="1"/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79A2EB4E-BCEB-C5FC-E403-57593EF93613}"/>
              </a:ext>
            </a:extLst>
          </p:cNvPr>
          <p:cNvSpPr/>
          <p:nvPr userDrawn="1">
            <p:custDataLst>
              <p:tags r:id="rId39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 defTabSz="540000">
              <a:lnSpc>
                <a:spcPct val="110000"/>
              </a:lnSpc>
              <a:spcAft>
                <a:spcPts val="400"/>
              </a:spcAft>
            </a:pPr>
            <a:endParaRPr lang="de-DE" sz="1600" err="1"/>
          </a:p>
        </p:txBody>
      </p:sp>
    </p:spTree>
    <p:extLst>
      <p:ext uri="{BB962C8B-B14F-4D97-AF65-F5344CB8AC3E}">
        <p14:creationId xmlns:p14="http://schemas.microsoft.com/office/powerpoint/2010/main" val="1564836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74" r:id="rId8"/>
    <p:sldLayoutId id="2147483673" r:id="rId9"/>
    <p:sldLayoutId id="2147483672" r:id="rId10"/>
    <p:sldLayoutId id="2147483675" r:id="rId11"/>
    <p:sldLayoutId id="2147483654" r:id="rId12"/>
    <p:sldLayoutId id="2147483660" r:id="rId13"/>
    <p:sldLayoutId id="2147483663" r:id="rId14"/>
    <p:sldLayoutId id="2147483664" r:id="rId15"/>
    <p:sldLayoutId id="2147483650" r:id="rId16"/>
    <p:sldLayoutId id="2147483661" r:id="rId17"/>
    <p:sldLayoutId id="2147483662" r:id="rId18"/>
    <p:sldLayoutId id="2147483665" r:id="rId19"/>
    <p:sldLayoutId id="2147483655" r:id="rId20"/>
    <p:sldLayoutId id="2147483679" r:id="rId21"/>
    <p:sldLayoutId id="2147483680" r:id="rId22"/>
    <p:sldLayoutId id="2147483669" r:id="rId23"/>
    <p:sldLayoutId id="2147483668" r:id="rId24"/>
    <p:sldLayoutId id="2147483682" r:id="rId25"/>
    <p:sldLayoutId id="2147483670" r:id="rId26"/>
    <p:sldLayoutId id="2147483667" r:id="rId27"/>
    <p:sldLayoutId id="2147483676" r:id="rId28"/>
    <p:sldLayoutId id="2147483671" r:id="rId29"/>
    <p:sldLayoutId id="2147483678" r:id="rId30"/>
    <p:sldLayoutId id="2147483683" r:id="rId31"/>
    <p:sldLayoutId id="2147483684" r:id="rId32"/>
    <p:sldLayoutId id="2147483685" r:id="rId33"/>
    <p:sldLayoutId id="2147483686" r:id="rId34"/>
    <p:sldLayoutId id="2147483687" r:id="rId35"/>
    <p:sldLayoutId id="2147483705" r:id="rId36"/>
    <p:sldLayoutId id="2147483706" r:id="rId37"/>
  </p:sldLayoutIdLst>
  <p:hf hdr="0"/>
  <p:txStyles>
    <p:titleStyle>
      <a:lvl1pPr algn="l" defTabSz="5400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5400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28600" algn="l" defTabSz="5400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60800" indent="-228600" algn="l" defTabSz="5400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1200" indent="-228600" algn="l" defTabSz="5400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00" indent="0" algn="l" defTabSz="5400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Manrope" pitchFamily="2" charset="0"/>
          <a:ea typeface="+mn-ea"/>
          <a:cs typeface="+mn-cs"/>
        </a:defRPr>
      </a:lvl5pPr>
      <a:lvl6pPr marL="342000" indent="-342900" algn="l" defTabSz="5400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Clr>
          <a:schemeClr val="bg2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5400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Font typeface="Manrope Medium" pitchFamily="2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5400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5400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6.pn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6" Type="http://schemas.microsoft.com/office/2007/relationships/hdphoto" Target="../media/hdphoto1.wdp"/><Relationship Id="rId11" Type="http://schemas.microsoft.com/office/2007/relationships/hdphoto" Target="../media/hdphoto3.wdp"/><Relationship Id="rId5" Type="http://schemas.openxmlformats.org/officeDocument/2006/relationships/image" Target="../media/image18.png"/><Relationship Id="rId10" Type="http://schemas.openxmlformats.org/officeDocument/2006/relationships/image" Target="../media/image21.png"/><Relationship Id="rId4" Type="http://schemas.openxmlformats.org/officeDocument/2006/relationships/image" Target="../media/image17.svg"/><Relationship Id="rId9" Type="http://schemas.microsoft.com/office/2007/relationships/hdphoto" Target="../media/hdphoto2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11" Type="http://schemas.openxmlformats.org/officeDocument/2006/relationships/image" Target="../media/image24.svg"/><Relationship Id="rId5" Type="http://schemas.openxmlformats.org/officeDocument/2006/relationships/tags" Target="../tags/tag69.xml"/><Relationship Id="rId10" Type="http://schemas.openxmlformats.org/officeDocument/2006/relationships/image" Target="../media/image23.svg"/><Relationship Id="rId4" Type="http://schemas.openxmlformats.org/officeDocument/2006/relationships/tags" Target="../tags/tag68.xml"/><Relationship Id="rId9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svg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eeg-hochspannung@sh-netz.com" TargetMode="External"/><Relationship Id="rId2" Type="http://schemas.openxmlformats.org/officeDocument/2006/relationships/hyperlink" Target="mailto:einspeisen@sh-netz.com" TargetMode="Externa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h-netz.com/de/energie-einspeisen/fca---flexible-netzanschlussvereinbarung/fragen-und-kontakt-fca.html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9.png"/><Relationship Id="rId4" Type="http://schemas.openxmlformats.org/officeDocument/2006/relationships/hyperlink" Target="https://www.sh-netz.com/de/energie-einspeisen/fca---flexible-netzanschlussvereinbarung/fca---biogasanlagen.html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0C28CD0-65AD-9104-D8FC-943CF8FE03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62763BE-7252-ABC0-D5B5-A4A077DA2F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4B87A5-DF5B-4A73-AB6B-3A3DBBF8F7F0}" type="slidenum">
              <a:rPr lang="de-DE"/>
              <a:pPr/>
              <a:t>1</a:t>
            </a:fld>
            <a:endParaRPr lang="de-DE"/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8740BCFD-674C-FE11-38CF-147B7194766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err="1"/>
              <a:t>Norddeutscher</a:t>
            </a:r>
            <a:r>
              <a:rPr lang="en-US"/>
              <a:t> Biogas-</a:t>
            </a:r>
            <a:r>
              <a:rPr lang="en-US" err="1"/>
              <a:t>Branchentreff</a:t>
            </a:r>
            <a:r>
              <a:rPr lang="en-US"/>
              <a:t> am 28.05.2026</a:t>
            </a:r>
            <a:endParaRPr lang="en-US">
              <a:ea typeface="+mn-lt"/>
              <a:cs typeface="+mn-lt"/>
            </a:endParaRPr>
          </a:p>
          <a:p>
            <a:r>
              <a:rPr lang="de-DE">
                <a:cs typeface="Arial"/>
              </a:rPr>
              <a:t>Imke Hebbeln, Jan-Arne Pan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CE54CAE-325C-A3CE-4C54-6125267168D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/>
              <a:t>FCA Konzepte der SH Netz - Biogas</a:t>
            </a:r>
          </a:p>
        </p:txBody>
      </p:sp>
    </p:spTree>
    <p:extLst>
      <p:ext uri="{BB962C8B-B14F-4D97-AF65-F5344CB8AC3E}">
        <p14:creationId xmlns:p14="http://schemas.microsoft.com/office/powerpoint/2010/main" val="17296634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DBA1DD-A148-C7F5-F2A6-2BF9639763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67386D9-A6E4-A0AA-B6C2-050BC69FF7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800" b="1">
                <a:solidFill>
                  <a:schemeClr val="accent2"/>
                </a:solidFill>
              </a:rPr>
              <a:t>Flexible Netzanschlussverträge (FCA) </a:t>
            </a:r>
            <a:r>
              <a:rPr lang="de-DE" sz="1800">
                <a:solidFill>
                  <a:schemeClr val="accent2"/>
                </a:solidFill>
              </a:rPr>
              <a:t>ermöglichen zusätzliche Netzanschlüsse trotz begrenzter Netzkapazitäten zeitnah zu realisieren – durch klar definierte, transparente und technisch begründete Flexibilitäten</a:t>
            </a:r>
          </a:p>
          <a:p>
            <a:endParaRPr lang="de-DE" sz="1800">
              <a:solidFill>
                <a:schemeClr val="accent2"/>
              </a:solidFill>
            </a:endParaRPr>
          </a:p>
          <a:p>
            <a:pPr marL="0" indent="0">
              <a:buNone/>
            </a:pPr>
            <a:r>
              <a:rPr lang="de-DE" sz="1800" b="1">
                <a:solidFill>
                  <a:schemeClr val="accent2"/>
                </a:solidFill>
              </a:rPr>
              <a:t>Konzeptionierung und Pilotierung im Rahmen des SH Netz </a:t>
            </a:r>
            <a:br>
              <a:rPr lang="de-DE" sz="1800" b="1">
                <a:solidFill>
                  <a:schemeClr val="accent2"/>
                </a:solidFill>
              </a:rPr>
            </a:br>
            <a:r>
              <a:rPr lang="de-DE" sz="1800" b="1">
                <a:solidFill>
                  <a:schemeClr val="accent2"/>
                </a:solidFill>
              </a:rPr>
              <a:t>Roll-Out Projekt FCA 2026:</a:t>
            </a:r>
          </a:p>
          <a:p>
            <a:endParaRPr lang="de-DE" sz="1800" b="1">
              <a:solidFill>
                <a:schemeClr val="accent2"/>
              </a:solidFill>
            </a:endParaRPr>
          </a:p>
          <a:p>
            <a:pPr marL="285750" indent="-285750"/>
            <a:r>
              <a:rPr lang="de-DE" sz="1800">
                <a:solidFill>
                  <a:schemeClr val="accent2"/>
                </a:solidFill>
              </a:rPr>
              <a:t>Entwicklung mehrerer standardisierter, praxisnaher FCA‑Produkte</a:t>
            </a:r>
          </a:p>
          <a:p>
            <a:pPr marL="285750" indent="-285750"/>
            <a:r>
              <a:rPr lang="de-DE" sz="1800">
                <a:solidFill>
                  <a:schemeClr val="accent2"/>
                </a:solidFill>
              </a:rPr>
              <a:t>Pilotierung von Konzepten in der Praxis und Integration in zentrale Netzprozesse (Netzführung, Netzplanung, Netzwirtschaft)</a:t>
            </a:r>
          </a:p>
          <a:p>
            <a:pPr marL="285750" indent="-285750"/>
            <a:r>
              <a:rPr lang="de-DE" sz="1800">
                <a:solidFill>
                  <a:schemeClr val="accent2"/>
                </a:solidFill>
              </a:rPr>
              <a:t>Einbindung technischer, prozessualer und regulatorischer Anforderungen</a:t>
            </a:r>
          </a:p>
          <a:p>
            <a:pPr marL="0" indent="0">
              <a:buNone/>
            </a:pPr>
            <a:endParaRPr lang="de-DE" sz="1800">
              <a:solidFill>
                <a:schemeClr val="accent2"/>
              </a:solidFill>
            </a:endParaRPr>
          </a:p>
          <a:p>
            <a:endParaRPr lang="en-GB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C48E006-34F4-8089-9C85-54D26EA90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FCA als Instrument zur effizienten Nutzung knapper Netzkapazitäten</a:t>
            </a:r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7343F89-F8CA-5A4F-3A85-914C7472D0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05F9840-4E70-8A92-E2F1-9771B54BC87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A52000-F233-424B-BE1D-85370D294A4E}" type="slidenum">
              <a:rPr lang="de-DE" smtClean="0"/>
              <a:pPr/>
              <a:t>2</a:t>
            </a:fld>
            <a:endParaRPr lang="de-DE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479BDC6-D0B0-D8FE-6657-D42560342A85}"/>
              </a:ext>
            </a:extLst>
          </p:cNvPr>
          <p:cNvGrpSpPr/>
          <p:nvPr/>
        </p:nvGrpSpPr>
        <p:grpSpPr>
          <a:xfrm>
            <a:off x="7921361" y="2359881"/>
            <a:ext cx="3938171" cy="3680677"/>
            <a:chOff x="5977724" y="1963636"/>
            <a:chExt cx="2883357" cy="2677665"/>
          </a:xfrm>
        </p:grpSpPr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F8780751-164C-55F0-3C25-7022B7EC016E}"/>
                </a:ext>
              </a:extLst>
            </p:cNvPr>
            <p:cNvGrpSpPr/>
            <p:nvPr/>
          </p:nvGrpSpPr>
          <p:grpSpPr>
            <a:xfrm>
              <a:off x="5977724" y="1963636"/>
              <a:ext cx="2883357" cy="2677665"/>
              <a:chOff x="2064124" y="1051140"/>
              <a:chExt cx="4364390" cy="3751365"/>
            </a:xfrm>
          </p:grpSpPr>
          <p:pic>
            <p:nvPicPr>
              <p:cNvPr id="34" name="Grafik 33">
                <a:extLst>
                  <a:ext uri="{FF2B5EF4-FFF2-40B4-BE49-F238E27FC236}">
                    <a16:creationId xmlns:a16="http://schemas.microsoft.com/office/drawing/2014/main" id="{82C0A41E-A646-E9C1-F585-3075DDA163E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13743" t="4052" r="16426"/>
              <a:stretch/>
            </p:blipFill>
            <p:spPr>
              <a:xfrm>
                <a:off x="2365255" y="1051140"/>
                <a:ext cx="3762128" cy="3657487"/>
              </a:xfrm>
              <a:prstGeom prst="rect">
                <a:avLst/>
              </a:prstGeom>
            </p:spPr>
          </p:pic>
          <p:sp>
            <p:nvSpPr>
              <p:cNvPr id="35" name="Rechteck 34">
                <a:extLst>
                  <a:ext uri="{FF2B5EF4-FFF2-40B4-BE49-F238E27FC236}">
                    <a16:creationId xmlns:a16="http://schemas.microsoft.com/office/drawing/2014/main" id="{593A18C3-F3C5-FB3E-4107-7DF514D269BC}"/>
                  </a:ext>
                </a:extLst>
              </p:cNvPr>
              <p:cNvSpPr/>
              <p:nvPr/>
            </p:nvSpPr>
            <p:spPr>
              <a:xfrm>
                <a:off x="2064124" y="3657600"/>
                <a:ext cx="1015252" cy="114490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67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hteck 35">
                <a:extLst>
                  <a:ext uri="{FF2B5EF4-FFF2-40B4-BE49-F238E27FC236}">
                    <a16:creationId xmlns:a16="http://schemas.microsoft.com/office/drawing/2014/main" id="{9418A02B-CDBC-8761-A14A-BF773ACF240B}"/>
                  </a:ext>
                </a:extLst>
              </p:cNvPr>
              <p:cNvSpPr/>
              <p:nvPr/>
            </p:nvSpPr>
            <p:spPr>
              <a:xfrm>
                <a:off x="3675530" y="1051140"/>
                <a:ext cx="2752984" cy="23977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67" err="1">
                  <a:solidFill>
                    <a:srgbClr val="000000"/>
                  </a:solidFill>
                </a:endParaRPr>
              </a:p>
            </p:txBody>
          </p:sp>
        </p:grpSp>
        <p:pic>
          <p:nvPicPr>
            <p:cNvPr id="13" name="Grafik 12" descr="Voller Akku mit einfarbiger Füllung">
              <a:extLst>
                <a:ext uri="{FF2B5EF4-FFF2-40B4-BE49-F238E27FC236}">
                  <a16:creationId xmlns:a16="http://schemas.microsoft.com/office/drawing/2014/main" id="{998D2385-D30F-5AB7-EE06-11BCBD052F4B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060957" y="2644041"/>
              <a:ext cx="162483" cy="187548"/>
            </a:xfrm>
            <a:prstGeom prst="rect">
              <a:avLst/>
            </a:prstGeom>
          </p:spPr>
        </p:pic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D7FF355D-F432-60D1-13A5-9FFE4BD58594}"/>
                </a:ext>
              </a:extLst>
            </p:cNvPr>
            <p:cNvGrpSpPr/>
            <p:nvPr/>
          </p:nvGrpSpPr>
          <p:grpSpPr>
            <a:xfrm>
              <a:off x="7450725" y="3047498"/>
              <a:ext cx="176450" cy="137763"/>
              <a:chOff x="1046775" y="2403270"/>
              <a:chExt cx="1974078" cy="1239141"/>
            </a:xfrm>
          </p:grpSpPr>
          <p:sp>
            <p:nvSpPr>
              <p:cNvPr id="32" name="Zylinder 31">
                <a:extLst>
                  <a:ext uri="{FF2B5EF4-FFF2-40B4-BE49-F238E27FC236}">
                    <a16:creationId xmlns:a16="http://schemas.microsoft.com/office/drawing/2014/main" id="{61822582-7B75-7C1C-5558-47B89E20A706}"/>
                  </a:ext>
                </a:extLst>
              </p:cNvPr>
              <p:cNvSpPr/>
              <p:nvPr/>
            </p:nvSpPr>
            <p:spPr>
              <a:xfrm>
                <a:off x="1046775" y="2403270"/>
                <a:ext cx="1974078" cy="1239141"/>
              </a:xfrm>
              <a:prstGeom prst="can">
                <a:avLst/>
              </a:prstGeom>
              <a:solidFill>
                <a:srgbClr val="8AAE1B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 defTabSz="539987">
                  <a:spcAft>
                    <a:spcPts val="400"/>
                  </a:spcAft>
                </a:pPr>
                <a:endParaRPr lang="en-GB" sz="1200"/>
              </a:p>
            </p:txBody>
          </p:sp>
          <p:pic>
            <p:nvPicPr>
              <p:cNvPr id="33" name="Grafik 32" descr="Ein Bild, das Grafiken, Symbol, Clipart, Design enthält.&#10;&#10;KI-generierte Inhalte können fehlerhaft sein.">
                <a:extLst>
                  <a:ext uri="{FF2B5EF4-FFF2-40B4-BE49-F238E27FC236}">
                    <a16:creationId xmlns:a16="http://schemas.microsoft.com/office/drawing/2014/main" id="{96A7A89B-FA60-EB98-77E7-ADAC9FCADC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rightnessContrast bright="-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518870" y="2786515"/>
                <a:ext cx="1029888" cy="759227"/>
              </a:xfrm>
              <a:prstGeom prst="rect">
                <a:avLst/>
              </a:prstGeom>
            </p:spPr>
          </p:pic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B70D0ED6-CDA1-387A-CDBD-A6FE3FA63F52}"/>
                </a:ext>
              </a:extLst>
            </p:cNvPr>
            <p:cNvGrpSpPr/>
            <p:nvPr/>
          </p:nvGrpSpPr>
          <p:grpSpPr>
            <a:xfrm>
              <a:off x="7046989" y="2909734"/>
              <a:ext cx="176450" cy="137763"/>
              <a:chOff x="1046775" y="2403270"/>
              <a:chExt cx="1974078" cy="1239141"/>
            </a:xfrm>
          </p:grpSpPr>
          <p:sp>
            <p:nvSpPr>
              <p:cNvPr id="30" name="Zylinder 29">
                <a:extLst>
                  <a:ext uri="{FF2B5EF4-FFF2-40B4-BE49-F238E27FC236}">
                    <a16:creationId xmlns:a16="http://schemas.microsoft.com/office/drawing/2014/main" id="{C8965C34-B979-5113-B8F8-CBA8BD1DA368}"/>
                  </a:ext>
                </a:extLst>
              </p:cNvPr>
              <p:cNvSpPr/>
              <p:nvPr/>
            </p:nvSpPr>
            <p:spPr>
              <a:xfrm>
                <a:off x="1046775" y="2403270"/>
                <a:ext cx="1974078" cy="1239141"/>
              </a:xfrm>
              <a:prstGeom prst="can">
                <a:avLst/>
              </a:prstGeom>
              <a:solidFill>
                <a:srgbClr val="8AAE1B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 defTabSz="539987">
                  <a:spcAft>
                    <a:spcPts val="400"/>
                  </a:spcAft>
                </a:pPr>
                <a:endParaRPr lang="en-GB" sz="1200"/>
              </a:p>
            </p:txBody>
          </p:sp>
          <p:pic>
            <p:nvPicPr>
              <p:cNvPr id="31" name="Grafik 30" descr="Ein Bild, das Grafiken, Symbol, Clipart, Design enthält.&#10;&#10;KI-generierte Inhalte können fehlerhaft sein.">
                <a:extLst>
                  <a:ext uri="{FF2B5EF4-FFF2-40B4-BE49-F238E27FC236}">
                    <a16:creationId xmlns:a16="http://schemas.microsoft.com/office/drawing/2014/main" id="{6BF5ACAE-444B-5634-D293-7D5C9DCE79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rightnessContrast bright="-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518870" y="2786515"/>
                <a:ext cx="1029888" cy="759227"/>
              </a:xfrm>
              <a:prstGeom prst="rect">
                <a:avLst/>
              </a:prstGeom>
            </p:spPr>
          </p:pic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0B8664DC-C49F-EA33-6BD9-E60DC4C5D5FD}"/>
                </a:ext>
              </a:extLst>
            </p:cNvPr>
            <p:cNvGrpSpPr/>
            <p:nvPr/>
          </p:nvGrpSpPr>
          <p:grpSpPr>
            <a:xfrm>
              <a:off x="7888100" y="3652938"/>
              <a:ext cx="185961" cy="171151"/>
              <a:chOff x="1805138" y="3090660"/>
              <a:chExt cx="470018" cy="514676"/>
            </a:xfrm>
          </p:grpSpPr>
          <p:sp>
            <p:nvSpPr>
              <p:cNvPr id="26" name="Ellipse 25">
                <a:extLst>
                  <a:ext uri="{FF2B5EF4-FFF2-40B4-BE49-F238E27FC236}">
                    <a16:creationId xmlns:a16="http://schemas.microsoft.com/office/drawing/2014/main" id="{D53A254B-5D04-96E1-792E-137DDE3DB786}"/>
                  </a:ext>
                </a:extLst>
              </p:cNvPr>
              <p:cNvSpPr/>
              <p:nvPr/>
            </p:nvSpPr>
            <p:spPr>
              <a:xfrm>
                <a:off x="1805138" y="3090660"/>
                <a:ext cx="470018" cy="514676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 defTabSz="539987">
                  <a:spcAft>
                    <a:spcPts val="400"/>
                  </a:spcAft>
                </a:pPr>
                <a:endParaRPr lang="en-GB" sz="1200"/>
              </a:p>
            </p:txBody>
          </p:sp>
          <p:grpSp>
            <p:nvGrpSpPr>
              <p:cNvPr id="27" name="Gruppieren 26">
                <a:extLst>
                  <a:ext uri="{FF2B5EF4-FFF2-40B4-BE49-F238E27FC236}">
                    <a16:creationId xmlns:a16="http://schemas.microsoft.com/office/drawing/2014/main" id="{44C3365B-2DF9-4385-EDF9-045C1A6A968B}"/>
                  </a:ext>
                </a:extLst>
              </p:cNvPr>
              <p:cNvGrpSpPr/>
              <p:nvPr/>
            </p:nvGrpSpPr>
            <p:grpSpPr>
              <a:xfrm>
                <a:off x="1805138" y="3206820"/>
                <a:ext cx="402875" cy="398516"/>
                <a:chOff x="2663440" y="4471869"/>
                <a:chExt cx="820485" cy="909313"/>
              </a:xfrm>
            </p:grpSpPr>
            <p:pic>
              <p:nvPicPr>
                <p:cNvPr id="28" name="Grafik 27" descr="Windkraftanlagen Silhouette">
                  <a:extLst>
                    <a:ext uri="{FF2B5EF4-FFF2-40B4-BE49-F238E27FC236}">
                      <a16:creationId xmlns:a16="http://schemas.microsoft.com/office/drawing/2014/main" id="{E728E850-0D8C-3B7C-82DA-CBB364634E0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63440" y="4471869"/>
                  <a:ext cx="765559" cy="765559"/>
                </a:xfrm>
                <a:prstGeom prst="rect">
                  <a:avLst/>
                </a:prstGeom>
              </p:spPr>
            </p:pic>
            <p:pic>
              <p:nvPicPr>
                <p:cNvPr id="29" name="Grafik 28" descr="Ein Bild, das Reihe, Screenshot, Design, Rechteck enthält.&#10;&#10;KI-generierte Inhalte können fehlerhaft sein.">
                  <a:extLst>
                    <a:ext uri="{FF2B5EF4-FFF2-40B4-BE49-F238E27FC236}">
                      <a16:creationId xmlns:a16="http://schemas.microsoft.com/office/drawing/2014/main" id="{F95A7842-0CCE-72CF-C6BA-5142E4D3947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 cstate="print">
                  <a:extLst>
                    <a:ext uri="{BEBA8EAE-BF5A-486C-A8C5-ECC9F3942E4B}">
                      <a14:imgProps xmlns:a14="http://schemas.microsoft.com/office/drawing/2010/main">
                        <a14:imgLayer r:embed="rId9">
                          <a14:imgEffect>
                            <a14:brightnessContrast bright="40000" contrast="2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916943" y="4873708"/>
                  <a:ext cx="566982" cy="507474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F165CE93-310E-4A0C-E0AF-0B9FB6FAEEB6}"/>
                </a:ext>
              </a:extLst>
            </p:cNvPr>
            <p:cNvGrpSpPr/>
            <p:nvPr/>
          </p:nvGrpSpPr>
          <p:grpSpPr>
            <a:xfrm>
              <a:off x="7399946" y="3541405"/>
              <a:ext cx="185961" cy="171151"/>
              <a:chOff x="1805138" y="3090660"/>
              <a:chExt cx="470018" cy="514676"/>
            </a:xfrm>
          </p:grpSpPr>
          <p:sp>
            <p:nvSpPr>
              <p:cNvPr id="18" name="Ellipse 17">
                <a:extLst>
                  <a:ext uri="{FF2B5EF4-FFF2-40B4-BE49-F238E27FC236}">
                    <a16:creationId xmlns:a16="http://schemas.microsoft.com/office/drawing/2014/main" id="{4E97358E-9B81-1CE3-A2D2-BA4B3BD4AA8E}"/>
                  </a:ext>
                </a:extLst>
              </p:cNvPr>
              <p:cNvSpPr/>
              <p:nvPr/>
            </p:nvSpPr>
            <p:spPr>
              <a:xfrm>
                <a:off x="1805138" y="3090660"/>
                <a:ext cx="470018" cy="514676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 defTabSz="539987">
                  <a:spcAft>
                    <a:spcPts val="400"/>
                  </a:spcAft>
                </a:pPr>
                <a:endParaRPr lang="en-GB" sz="1200"/>
              </a:p>
            </p:txBody>
          </p:sp>
          <p:grpSp>
            <p:nvGrpSpPr>
              <p:cNvPr id="23" name="Gruppieren 22">
                <a:extLst>
                  <a:ext uri="{FF2B5EF4-FFF2-40B4-BE49-F238E27FC236}">
                    <a16:creationId xmlns:a16="http://schemas.microsoft.com/office/drawing/2014/main" id="{07E4CF66-D3EA-9EC8-9B8C-7A22369F3CD2}"/>
                  </a:ext>
                </a:extLst>
              </p:cNvPr>
              <p:cNvGrpSpPr/>
              <p:nvPr/>
            </p:nvGrpSpPr>
            <p:grpSpPr>
              <a:xfrm>
                <a:off x="1805138" y="3206820"/>
                <a:ext cx="402875" cy="398516"/>
                <a:chOff x="2663440" y="4471869"/>
                <a:chExt cx="820485" cy="909313"/>
              </a:xfrm>
            </p:grpSpPr>
            <p:pic>
              <p:nvPicPr>
                <p:cNvPr id="24" name="Grafik 23" descr="Windkraftanlagen Silhouette">
                  <a:extLst>
                    <a:ext uri="{FF2B5EF4-FFF2-40B4-BE49-F238E27FC236}">
                      <a16:creationId xmlns:a16="http://schemas.microsoft.com/office/drawing/2014/main" id="{E60DFAC4-0FE6-02B9-DC49-D1890BB87BF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63440" y="4471869"/>
                  <a:ext cx="765559" cy="765559"/>
                </a:xfrm>
                <a:prstGeom prst="rect">
                  <a:avLst/>
                </a:prstGeom>
              </p:spPr>
            </p:pic>
            <p:pic>
              <p:nvPicPr>
                <p:cNvPr id="25" name="Grafik 24" descr="Ein Bild, das Reihe, Screenshot, Design, Rechteck enthält.&#10;&#10;KI-generierte Inhalte können fehlerhaft sein.">
                  <a:extLst>
                    <a:ext uri="{FF2B5EF4-FFF2-40B4-BE49-F238E27FC236}">
                      <a16:creationId xmlns:a16="http://schemas.microsoft.com/office/drawing/2014/main" id="{8C942781-261B-78C7-6AA5-2F07052247B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 cstate="print">
                  <a:extLst>
                    <a:ext uri="{BEBA8EAE-BF5A-486C-A8C5-ECC9F3942E4B}">
                      <a14:imgProps xmlns:a14="http://schemas.microsoft.com/office/drawing/2010/main">
                        <a14:imgLayer r:embed="rId9">
                          <a14:imgEffect>
                            <a14:brightnessContrast bright="40000" contrast="2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916943" y="4873708"/>
                  <a:ext cx="566982" cy="507474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F1F093D8-D895-EC87-4720-9F54AAC4BB90}"/>
              </a:ext>
            </a:extLst>
          </p:cNvPr>
          <p:cNvGrpSpPr/>
          <p:nvPr/>
        </p:nvGrpSpPr>
        <p:grpSpPr>
          <a:xfrm>
            <a:off x="10123599" y="2162812"/>
            <a:ext cx="3625997" cy="872084"/>
            <a:chOff x="7684710" y="2058243"/>
            <a:chExt cx="2719498" cy="654063"/>
          </a:xfrm>
        </p:grpSpPr>
        <p:grpSp>
          <p:nvGrpSpPr>
            <p:cNvPr id="38" name="Gruppieren 37">
              <a:extLst>
                <a:ext uri="{FF2B5EF4-FFF2-40B4-BE49-F238E27FC236}">
                  <a16:creationId xmlns:a16="http://schemas.microsoft.com/office/drawing/2014/main" id="{0581ADE2-7120-1BBF-E11E-34430797026F}"/>
                </a:ext>
              </a:extLst>
            </p:cNvPr>
            <p:cNvGrpSpPr/>
            <p:nvPr/>
          </p:nvGrpSpPr>
          <p:grpSpPr>
            <a:xfrm>
              <a:off x="7691589" y="2531115"/>
              <a:ext cx="185961" cy="171151"/>
              <a:chOff x="1805138" y="3090660"/>
              <a:chExt cx="470018" cy="514676"/>
            </a:xfrm>
          </p:grpSpPr>
          <p:sp>
            <p:nvSpPr>
              <p:cNvPr id="46" name="Ellipse 45">
                <a:extLst>
                  <a:ext uri="{FF2B5EF4-FFF2-40B4-BE49-F238E27FC236}">
                    <a16:creationId xmlns:a16="http://schemas.microsoft.com/office/drawing/2014/main" id="{8506A041-CA3A-CE9D-0825-96E2321A708D}"/>
                  </a:ext>
                </a:extLst>
              </p:cNvPr>
              <p:cNvSpPr/>
              <p:nvPr/>
            </p:nvSpPr>
            <p:spPr>
              <a:xfrm>
                <a:off x="1805138" y="3090660"/>
                <a:ext cx="470018" cy="514676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 defTabSz="539987">
                  <a:spcAft>
                    <a:spcPts val="400"/>
                  </a:spcAft>
                </a:pPr>
                <a:endParaRPr lang="en-GB" sz="1200">
                  <a:solidFill>
                    <a:schemeClr val="accent2"/>
                  </a:solidFill>
                </a:endParaRPr>
              </a:p>
            </p:txBody>
          </p:sp>
          <p:grpSp>
            <p:nvGrpSpPr>
              <p:cNvPr id="47" name="Gruppieren 46">
                <a:extLst>
                  <a:ext uri="{FF2B5EF4-FFF2-40B4-BE49-F238E27FC236}">
                    <a16:creationId xmlns:a16="http://schemas.microsoft.com/office/drawing/2014/main" id="{4F5C083C-0757-5FCA-B411-F207E8C42B70}"/>
                  </a:ext>
                </a:extLst>
              </p:cNvPr>
              <p:cNvGrpSpPr/>
              <p:nvPr/>
            </p:nvGrpSpPr>
            <p:grpSpPr>
              <a:xfrm>
                <a:off x="1805138" y="3206820"/>
                <a:ext cx="402875" cy="398516"/>
                <a:chOff x="2663440" y="4471869"/>
                <a:chExt cx="820485" cy="909313"/>
              </a:xfrm>
            </p:grpSpPr>
            <p:pic>
              <p:nvPicPr>
                <p:cNvPr id="48" name="Grafik 47" descr="Windkraftanlagen Silhouette">
                  <a:extLst>
                    <a:ext uri="{FF2B5EF4-FFF2-40B4-BE49-F238E27FC236}">
                      <a16:creationId xmlns:a16="http://schemas.microsoft.com/office/drawing/2014/main" id="{386825B7-486D-502D-4831-F7FC7FCF76B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63440" y="4471869"/>
                  <a:ext cx="765559" cy="765559"/>
                </a:xfrm>
                <a:prstGeom prst="rect">
                  <a:avLst/>
                </a:prstGeom>
              </p:spPr>
            </p:pic>
            <p:pic>
              <p:nvPicPr>
                <p:cNvPr id="49" name="Grafik 48" descr="Ein Bild, das Reihe, Screenshot, Design, Rechteck enthält.&#10;&#10;KI-generierte Inhalte können fehlerhaft sein.">
                  <a:extLst>
                    <a:ext uri="{FF2B5EF4-FFF2-40B4-BE49-F238E27FC236}">
                      <a16:creationId xmlns:a16="http://schemas.microsoft.com/office/drawing/2014/main" id="{7687CF3B-2221-1731-3321-5BEDFE28A61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 cstate="print">
                  <a:extLst>
                    <a:ext uri="{BEBA8EAE-BF5A-486C-A8C5-ECC9F3942E4B}">
                      <a14:imgProps xmlns:a14="http://schemas.microsoft.com/office/drawing/2010/main">
                        <a14:imgLayer r:embed="rId9">
                          <a14:imgEffect>
                            <a14:brightnessContrast bright="40000" contrast="2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916943" y="4873708"/>
                  <a:ext cx="566982" cy="507474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5F1F10F3-5901-8196-4366-912D1FA06BF3}"/>
                </a:ext>
              </a:extLst>
            </p:cNvPr>
            <p:cNvGrpSpPr/>
            <p:nvPr/>
          </p:nvGrpSpPr>
          <p:grpSpPr>
            <a:xfrm>
              <a:off x="7691589" y="2297441"/>
              <a:ext cx="176450" cy="137763"/>
              <a:chOff x="1046775" y="2403270"/>
              <a:chExt cx="1974078" cy="1239141"/>
            </a:xfrm>
          </p:grpSpPr>
          <p:sp>
            <p:nvSpPr>
              <p:cNvPr id="44" name="Zylinder 43">
                <a:extLst>
                  <a:ext uri="{FF2B5EF4-FFF2-40B4-BE49-F238E27FC236}">
                    <a16:creationId xmlns:a16="http://schemas.microsoft.com/office/drawing/2014/main" id="{B09F3E3B-B935-6208-2404-DAE5144DD550}"/>
                  </a:ext>
                </a:extLst>
              </p:cNvPr>
              <p:cNvSpPr/>
              <p:nvPr/>
            </p:nvSpPr>
            <p:spPr>
              <a:xfrm>
                <a:off x="1046775" y="2403270"/>
                <a:ext cx="1974078" cy="1239141"/>
              </a:xfrm>
              <a:prstGeom prst="can">
                <a:avLst/>
              </a:prstGeom>
              <a:solidFill>
                <a:srgbClr val="8AAE1B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 defTabSz="539987">
                  <a:spcAft>
                    <a:spcPts val="400"/>
                  </a:spcAft>
                </a:pPr>
                <a:endParaRPr lang="en-GB" sz="1200">
                  <a:solidFill>
                    <a:schemeClr val="accent2"/>
                  </a:solidFill>
                </a:endParaRPr>
              </a:p>
            </p:txBody>
          </p:sp>
          <p:pic>
            <p:nvPicPr>
              <p:cNvPr id="45" name="Grafik 44" descr="Ein Bild, das Grafiken, Symbol, Clipart, Design enthält.&#10;&#10;KI-generierte Inhalte können fehlerhaft sein.">
                <a:extLst>
                  <a:ext uri="{FF2B5EF4-FFF2-40B4-BE49-F238E27FC236}">
                    <a16:creationId xmlns:a16="http://schemas.microsoft.com/office/drawing/2014/main" id="{D040E471-7F2C-EECF-2DBE-AB456C88390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BEBA8EAE-BF5A-486C-A8C5-ECC9F3942E4B}">
                    <a14:imgProps xmlns:a14="http://schemas.microsoft.com/office/drawing/2010/main">
                      <a14:imgLayer r:embed="rId11">
                        <a14:imgEffect>
                          <a14:brightnessContrast bright="-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518870" y="2786515"/>
                <a:ext cx="1029888" cy="759227"/>
              </a:xfrm>
              <a:prstGeom prst="rect">
                <a:avLst/>
              </a:prstGeom>
            </p:spPr>
          </p:pic>
        </p:grpSp>
        <p:pic>
          <p:nvPicPr>
            <p:cNvPr id="40" name="Grafik 39" descr="Voller Akku mit einfarbiger Füllung">
              <a:extLst>
                <a:ext uri="{FF2B5EF4-FFF2-40B4-BE49-F238E27FC236}">
                  <a16:creationId xmlns:a16="http://schemas.microsoft.com/office/drawing/2014/main" id="{2BEE7538-42E9-0D59-4DB8-6BF19EAF8375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684710" y="2058243"/>
              <a:ext cx="162483" cy="187548"/>
            </a:xfrm>
            <a:prstGeom prst="rect">
              <a:avLst/>
            </a:prstGeom>
          </p:spPr>
        </p:pic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843725C1-88CC-FA86-9682-ED11BA041537}"/>
                </a:ext>
              </a:extLst>
            </p:cNvPr>
            <p:cNvSpPr txBox="1"/>
            <p:nvPr/>
          </p:nvSpPr>
          <p:spPr>
            <a:xfrm>
              <a:off x="7850985" y="2066937"/>
              <a:ext cx="2485469" cy="2077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70920" indent="-270920"/>
              <a:r>
                <a:rPr lang="de-DE" sz="1200" b="1">
                  <a:solidFill>
                    <a:schemeClr val="accent2"/>
                  </a:solidFill>
                </a:rPr>
                <a:t>Pilot Batteriespeicher</a:t>
              </a:r>
              <a:endParaRPr lang="de-DE" sz="1200">
                <a:solidFill>
                  <a:schemeClr val="accent2"/>
                </a:solidFill>
              </a:endParaRPr>
            </a:p>
          </p:txBody>
        </p: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5B4B655B-A679-D92C-3552-36CA14880B39}"/>
                </a:ext>
              </a:extLst>
            </p:cNvPr>
            <p:cNvSpPr txBox="1"/>
            <p:nvPr/>
          </p:nvSpPr>
          <p:spPr>
            <a:xfrm>
              <a:off x="7861984" y="2504557"/>
              <a:ext cx="2542224" cy="2077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70920" indent="-270920"/>
              <a:r>
                <a:rPr lang="de-DE" sz="1200" b="1">
                  <a:solidFill>
                    <a:schemeClr val="accent2"/>
                  </a:solidFill>
                </a:rPr>
                <a:t>Piloten Überbauung</a:t>
              </a:r>
              <a:endParaRPr lang="de-DE" sz="1200">
                <a:solidFill>
                  <a:schemeClr val="accent2"/>
                </a:solidFill>
              </a:endParaRPr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05198C9E-FE81-AABA-3D5C-C660CD6F30EE}"/>
                </a:ext>
              </a:extLst>
            </p:cNvPr>
            <p:cNvSpPr txBox="1"/>
            <p:nvPr/>
          </p:nvSpPr>
          <p:spPr>
            <a:xfrm>
              <a:off x="7850984" y="2289829"/>
              <a:ext cx="2542224" cy="2077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70920" indent="-270920"/>
              <a:r>
                <a:rPr lang="de-DE" sz="1200" b="1">
                  <a:solidFill>
                    <a:schemeClr val="accent2"/>
                  </a:solidFill>
                </a:rPr>
                <a:t>Piloten BHKW </a:t>
              </a:r>
              <a:endParaRPr lang="de-DE" sz="1200">
                <a:solidFill>
                  <a:schemeClr val="accent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977671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2058A2-FA34-9841-6DEB-8917239152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Rechteck: abgerundete Ecken 127">
            <a:extLst>
              <a:ext uri="{FF2B5EF4-FFF2-40B4-BE49-F238E27FC236}">
                <a16:creationId xmlns:a16="http://schemas.microsoft.com/office/drawing/2014/main" id="{F03458B3-02FB-B352-901C-C3C59AE85EBC}"/>
              </a:ext>
            </a:extLst>
          </p:cNvPr>
          <p:cNvSpPr>
            <a:spLocks/>
          </p:cNvSpPr>
          <p:nvPr/>
        </p:nvSpPr>
        <p:spPr>
          <a:xfrm>
            <a:off x="5015880" y="3325059"/>
            <a:ext cx="6810566" cy="1202080"/>
          </a:xfrm>
          <a:prstGeom prst="roundRect">
            <a:avLst/>
          </a:prstGeom>
          <a:solidFill>
            <a:srgbClr val="F6F3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10000"/>
              </a:lnSpc>
              <a:spcAft>
                <a:spcPts val="400"/>
              </a:spcAft>
            </a:pPr>
            <a:endParaRPr lang="de-DE" sz="1600" err="1"/>
          </a:p>
        </p:txBody>
      </p:sp>
      <p:sp>
        <p:nvSpPr>
          <p:cNvPr id="129" name="Rechteck: abgerundete Ecken 128">
            <a:extLst>
              <a:ext uri="{FF2B5EF4-FFF2-40B4-BE49-F238E27FC236}">
                <a16:creationId xmlns:a16="http://schemas.microsoft.com/office/drawing/2014/main" id="{36EF43F1-2449-74D5-3EFA-3756A64B4C6F}"/>
              </a:ext>
            </a:extLst>
          </p:cNvPr>
          <p:cNvSpPr>
            <a:spLocks/>
          </p:cNvSpPr>
          <p:nvPr/>
        </p:nvSpPr>
        <p:spPr>
          <a:xfrm>
            <a:off x="5015880" y="4592004"/>
            <a:ext cx="6810566" cy="1451346"/>
          </a:xfrm>
          <a:prstGeom prst="roundRect">
            <a:avLst/>
          </a:prstGeom>
          <a:solidFill>
            <a:srgbClr val="F6F3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10000"/>
              </a:lnSpc>
              <a:spcAft>
                <a:spcPts val="400"/>
              </a:spcAft>
            </a:pPr>
            <a:endParaRPr lang="de-DE" sz="1600" err="1"/>
          </a:p>
        </p:txBody>
      </p:sp>
      <p:sp>
        <p:nvSpPr>
          <p:cNvPr id="127" name="Rechteck: abgerundete Ecken 126">
            <a:extLst>
              <a:ext uri="{FF2B5EF4-FFF2-40B4-BE49-F238E27FC236}">
                <a16:creationId xmlns:a16="http://schemas.microsoft.com/office/drawing/2014/main" id="{95F6A17C-4850-8899-DAA9-07FB9A2FBCDF}"/>
              </a:ext>
            </a:extLst>
          </p:cNvPr>
          <p:cNvSpPr>
            <a:spLocks/>
          </p:cNvSpPr>
          <p:nvPr/>
        </p:nvSpPr>
        <p:spPr>
          <a:xfrm>
            <a:off x="5015880" y="1720241"/>
            <a:ext cx="6810566" cy="34213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10000"/>
              </a:lnSpc>
              <a:spcAft>
                <a:spcPts val="400"/>
              </a:spcAft>
            </a:pPr>
            <a:endParaRPr lang="de-DE" sz="1600" err="1"/>
          </a:p>
        </p:txBody>
      </p:sp>
      <p:sp>
        <p:nvSpPr>
          <p:cNvPr id="125" name="Rechteck: abgerundete Ecken 124">
            <a:extLst>
              <a:ext uri="{FF2B5EF4-FFF2-40B4-BE49-F238E27FC236}">
                <a16:creationId xmlns:a16="http://schemas.microsoft.com/office/drawing/2014/main" id="{C399F894-B5CE-3118-EEB0-0B55B9CEF4AD}"/>
              </a:ext>
            </a:extLst>
          </p:cNvPr>
          <p:cNvSpPr>
            <a:spLocks/>
          </p:cNvSpPr>
          <p:nvPr/>
        </p:nvSpPr>
        <p:spPr>
          <a:xfrm>
            <a:off x="5015880" y="2073649"/>
            <a:ext cx="6810566" cy="1202080"/>
          </a:xfrm>
          <a:prstGeom prst="roundRect">
            <a:avLst/>
          </a:prstGeom>
          <a:solidFill>
            <a:srgbClr val="F6F3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10000"/>
              </a:lnSpc>
              <a:spcAft>
                <a:spcPts val="400"/>
              </a:spcAft>
            </a:pPr>
            <a:endParaRPr lang="de-DE" sz="1600" err="1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CC641BE-25F8-CCA3-B7C5-1F9620197725}"/>
              </a:ext>
            </a:extLst>
          </p:cNvPr>
          <p:cNvSpPr txBox="1"/>
          <p:nvPr/>
        </p:nvSpPr>
        <p:spPr>
          <a:xfrm>
            <a:off x="195555" y="5928327"/>
            <a:ext cx="670800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defTabSz="540000">
              <a:lnSpc>
                <a:spcPct val="100000"/>
              </a:lnSpc>
            </a:pPr>
            <a:endParaRPr lang="de-DE" sz="1000">
              <a:latin typeface="Segoe UI Light" panose="020B0502040204020203" pitchFamily="34" charset="0"/>
            </a:endParaRPr>
          </a:p>
          <a:p>
            <a:pPr algn="l" defTabSz="540000">
              <a:lnSpc>
                <a:spcPct val="100000"/>
              </a:lnSpc>
            </a:pPr>
            <a:r>
              <a:rPr lang="de-DE" sz="1000" err="1">
                <a:latin typeface="Segoe UI Light" panose="020B0502040204020203" pitchFamily="34" charset="0"/>
              </a:rPr>
              <a:t>ggNVP</a:t>
            </a:r>
            <a:r>
              <a:rPr lang="de-DE" sz="1000">
                <a:latin typeface="Segoe UI Light" panose="020B0502040204020203" pitchFamily="34" charset="0"/>
              </a:rPr>
              <a:t>: Gesamtwirtschaftliche günstigste NVP</a:t>
            </a:r>
          </a:p>
        </p:txBody>
      </p:sp>
      <p:sp>
        <p:nvSpPr>
          <p:cNvPr id="60" name="Titel 59">
            <a:extLst>
              <a:ext uri="{FF2B5EF4-FFF2-40B4-BE49-F238E27FC236}">
                <a16:creationId xmlns:a16="http://schemas.microsoft.com/office/drawing/2014/main" id="{45104DC2-070A-984D-A24D-EEBA270FF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Fallbeispiel Wunscherweiterung einer Biogasanlage: ob ein FCA angeboten werden kann und für welchen Zeitraum ist eine Einzelfallprüfu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F5F9DE-55BB-8BA1-68D3-F5FD9C246C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8" name="Inhaltsplatzhalter 8" descr="Ein Bild, das Schwarz, Dunkelheit enthält.&#10;&#10;KI-generierte Inhalte können fehlerhaft sein.">
            <a:extLst>
              <a:ext uri="{FF2B5EF4-FFF2-40B4-BE49-F238E27FC236}">
                <a16:creationId xmlns:a16="http://schemas.microsoft.com/office/drawing/2014/main" id="{B6C74436-AB4A-6FA0-AE67-7FB906A95610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3"/>
          <a:stretch>
            <a:fillRect/>
          </a:stretch>
        </p:blipFill>
        <p:spPr>
          <a:xfrm>
            <a:off x="1886584" y="4646197"/>
            <a:ext cx="468313" cy="471487"/>
          </a:xfrm>
        </p:spPr>
      </p:pic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F46E35BA-425E-282E-2033-E1DB0603CB98}"/>
              </a:ext>
            </a:extLst>
          </p:cNvPr>
          <p:cNvCxnSpPr>
            <a:cxnSpLocks/>
          </p:cNvCxnSpPr>
          <p:nvPr/>
        </p:nvCxnSpPr>
        <p:spPr>
          <a:xfrm flipV="1">
            <a:off x="365549" y="2175087"/>
            <a:ext cx="3456000" cy="0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54B768BD-4BCE-1875-BF97-1A9051FA48EC}"/>
              </a:ext>
            </a:extLst>
          </p:cNvPr>
          <p:cNvCxnSpPr>
            <a:cxnSpLocks/>
          </p:cNvCxnSpPr>
          <p:nvPr/>
        </p:nvCxnSpPr>
        <p:spPr>
          <a:xfrm>
            <a:off x="365549" y="2937320"/>
            <a:ext cx="3456000" cy="0"/>
          </a:xfrm>
          <a:prstGeom prst="line">
            <a:avLst/>
          </a:prstGeom>
          <a:ln w="381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feld 8">
            <a:extLst>
              <a:ext uri="{FF2B5EF4-FFF2-40B4-BE49-F238E27FC236}">
                <a16:creationId xmlns:a16="http://schemas.microsoft.com/office/drawing/2014/main" id="{DDE0AEF4-DB92-03C4-BA7C-6CB701BA332A}"/>
              </a:ext>
            </a:extLst>
          </p:cNvPr>
          <p:cNvSpPr txBox="1"/>
          <p:nvPr/>
        </p:nvSpPr>
        <p:spPr>
          <a:xfrm>
            <a:off x="426414" y="2749310"/>
            <a:ext cx="914400" cy="351035"/>
          </a:xfrm>
          <a:prstGeom prst="rect">
            <a:avLst/>
          </a:prstGeom>
          <a:noFill/>
        </p:spPr>
        <p:txBody>
          <a:bodyPr wrap="square" lIns="90000" tIns="90000" rIns="90000" bIns="90000" rtlCol="0">
            <a:spAutoFit/>
          </a:bodyPr>
          <a:lstStyle/>
          <a:p>
            <a:pPr algn="just">
              <a:spcBef>
                <a:spcPts val="600"/>
              </a:spcBef>
              <a:buClr>
                <a:schemeClr val="accent3"/>
              </a:buClr>
              <a:buSzPct val="110000"/>
            </a:pPr>
            <a:r>
              <a:rPr lang="de-DE" sz="1100" i="1">
                <a:solidFill>
                  <a:schemeClr val="accent1"/>
                </a:solidFill>
                <a:highlight>
                  <a:srgbClr val="FFFFFF"/>
                </a:highlight>
              </a:rPr>
              <a:t>NE3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12F230D-D951-925E-94BF-EFAE6CC40540}"/>
              </a:ext>
            </a:extLst>
          </p:cNvPr>
          <p:cNvSpPr txBox="1"/>
          <p:nvPr/>
        </p:nvSpPr>
        <p:spPr>
          <a:xfrm>
            <a:off x="426414" y="1996387"/>
            <a:ext cx="776430" cy="351035"/>
          </a:xfrm>
          <a:prstGeom prst="rect">
            <a:avLst/>
          </a:prstGeom>
          <a:noFill/>
        </p:spPr>
        <p:txBody>
          <a:bodyPr wrap="square" lIns="90000" tIns="90000" rIns="90000" bIns="90000" rtlCol="0">
            <a:spAutoFit/>
          </a:bodyPr>
          <a:lstStyle/>
          <a:p>
            <a:pPr algn="just">
              <a:spcBef>
                <a:spcPts val="600"/>
              </a:spcBef>
              <a:buClr>
                <a:schemeClr val="accent3"/>
              </a:buClr>
              <a:buSzPct val="110000"/>
            </a:pPr>
            <a:r>
              <a:rPr lang="de-DE" sz="1100" i="1">
                <a:solidFill>
                  <a:srgbClr val="7F7F7F"/>
                </a:solidFill>
                <a:highlight>
                  <a:srgbClr val="FFFFFF"/>
                </a:highlight>
              </a:rPr>
              <a:t>NE1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3000CDA-03C5-C37D-C716-EBF21A7F75EB}"/>
              </a:ext>
            </a:extLst>
          </p:cNvPr>
          <p:cNvGrpSpPr/>
          <p:nvPr/>
        </p:nvGrpSpPr>
        <p:grpSpPr>
          <a:xfrm>
            <a:off x="1419302" y="2188974"/>
            <a:ext cx="231598" cy="748863"/>
            <a:chOff x="2166361" y="1968498"/>
            <a:chExt cx="360000" cy="1164046"/>
          </a:xfrm>
        </p:grpSpPr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30E534ED-522C-B854-CEC2-566CD0D2E31E}"/>
                </a:ext>
              </a:extLst>
            </p:cNvPr>
            <p:cNvGrpSpPr/>
            <p:nvPr/>
          </p:nvGrpSpPr>
          <p:grpSpPr>
            <a:xfrm>
              <a:off x="2166361" y="2108536"/>
              <a:ext cx="360000" cy="540000"/>
              <a:chOff x="2007910" y="2408549"/>
              <a:chExt cx="360000" cy="540000"/>
            </a:xfrm>
          </p:grpSpPr>
          <p:sp>
            <p:nvSpPr>
              <p:cNvPr id="24" name="Ellipse 23">
                <a:extLst>
                  <a:ext uri="{FF2B5EF4-FFF2-40B4-BE49-F238E27FC236}">
                    <a16:creationId xmlns:a16="http://schemas.microsoft.com/office/drawing/2014/main" id="{67F41345-A1F8-A08E-E6BE-0FF16D41611E}"/>
                  </a:ext>
                </a:extLst>
              </p:cNvPr>
              <p:cNvSpPr/>
              <p:nvPr/>
            </p:nvSpPr>
            <p:spPr>
              <a:xfrm>
                <a:off x="2007910" y="2408549"/>
                <a:ext cx="360000" cy="360000"/>
              </a:xfrm>
              <a:prstGeom prst="ellipse">
                <a:avLst/>
              </a:prstGeom>
              <a:noFill/>
              <a:ln w="19050" cap="flat" cmpd="sng" algn="ctr">
                <a:solidFill>
                  <a:schemeClr val="accent1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03040" indent="-203040" algn="ctr" defTabSz="914400">
                  <a:buClr>
                    <a:schemeClr val="bg1"/>
                  </a:buClr>
                  <a:buSzPct val="110000"/>
                  <a:buFont typeface="Wingdings" panose="05000000000000000000" pitchFamily="2" charset="2"/>
                  <a:buChar char="§"/>
                </a:pPr>
                <a:endParaRPr kumimoji="0" lang="de-DE" b="0" i="0" u="none" strike="noStrike" kern="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3" name="Ellipse 32">
                <a:extLst>
                  <a:ext uri="{FF2B5EF4-FFF2-40B4-BE49-F238E27FC236}">
                    <a16:creationId xmlns:a16="http://schemas.microsoft.com/office/drawing/2014/main" id="{48C571A5-EA97-05DB-C52B-140A1ECBA28C}"/>
                  </a:ext>
                </a:extLst>
              </p:cNvPr>
              <p:cNvSpPr/>
              <p:nvPr/>
            </p:nvSpPr>
            <p:spPr>
              <a:xfrm>
                <a:off x="2007910" y="2588549"/>
                <a:ext cx="360000" cy="360000"/>
              </a:xfrm>
              <a:prstGeom prst="ellipse">
                <a:avLst/>
              </a:prstGeom>
              <a:noFill/>
              <a:ln w="19050" cap="flat" cmpd="sng" algn="ctr">
                <a:solidFill>
                  <a:schemeClr val="accent1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03040" indent="-203040" algn="ctr" defTabSz="914400">
                  <a:buClr>
                    <a:schemeClr val="bg1"/>
                  </a:buClr>
                  <a:buSzPct val="110000"/>
                  <a:buFont typeface="Wingdings" panose="05000000000000000000" pitchFamily="2" charset="2"/>
                  <a:buChar char="§"/>
                </a:pPr>
                <a:endParaRPr kumimoji="0" lang="de-DE" b="0" i="0" u="none" strike="noStrike" kern="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00E415F8-6D2A-4A0F-4F2A-D6CB96F74435}"/>
                </a:ext>
              </a:extLst>
            </p:cNvPr>
            <p:cNvCxnSpPr>
              <a:cxnSpLocks/>
              <a:endCxn id="24" idx="0"/>
            </p:cNvCxnSpPr>
            <p:nvPr/>
          </p:nvCxnSpPr>
          <p:spPr>
            <a:xfrm>
              <a:off x="2346361" y="1968498"/>
              <a:ext cx="0" cy="140037"/>
            </a:xfrm>
            <a:prstGeom prst="line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7695A4BA-F14B-A65B-CAA8-92B0C9A51387}"/>
                </a:ext>
              </a:extLst>
            </p:cNvPr>
            <p:cNvCxnSpPr>
              <a:cxnSpLocks/>
              <a:stCxn id="33" idx="4"/>
            </p:cNvCxnSpPr>
            <p:nvPr/>
          </p:nvCxnSpPr>
          <p:spPr>
            <a:xfrm>
              <a:off x="2346361" y="2648536"/>
              <a:ext cx="2" cy="484008"/>
            </a:xfrm>
            <a:prstGeom prst="line">
              <a:avLst/>
            </a:prstGeom>
            <a:ln w="19050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E40AB79D-68D6-4104-67FE-3810099EB121}"/>
              </a:ext>
            </a:extLst>
          </p:cNvPr>
          <p:cNvGrpSpPr/>
          <p:nvPr/>
        </p:nvGrpSpPr>
        <p:grpSpPr>
          <a:xfrm>
            <a:off x="1718140" y="2188974"/>
            <a:ext cx="231598" cy="748863"/>
            <a:chOff x="2166361" y="1968498"/>
            <a:chExt cx="360000" cy="1164046"/>
          </a:xfrm>
        </p:grpSpPr>
        <p:grpSp>
          <p:nvGrpSpPr>
            <p:cNvPr id="37" name="Gruppieren 36">
              <a:extLst>
                <a:ext uri="{FF2B5EF4-FFF2-40B4-BE49-F238E27FC236}">
                  <a16:creationId xmlns:a16="http://schemas.microsoft.com/office/drawing/2014/main" id="{481A2CE8-41F0-ED46-7802-5A9009D1CDBD}"/>
                </a:ext>
              </a:extLst>
            </p:cNvPr>
            <p:cNvGrpSpPr/>
            <p:nvPr/>
          </p:nvGrpSpPr>
          <p:grpSpPr>
            <a:xfrm>
              <a:off x="2166361" y="2108536"/>
              <a:ext cx="360000" cy="540000"/>
              <a:chOff x="2007910" y="2408549"/>
              <a:chExt cx="360000" cy="540000"/>
            </a:xfrm>
          </p:grpSpPr>
          <p:sp>
            <p:nvSpPr>
              <p:cNvPr id="45" name="Ellipse 44">
                <a:extLst>
                  <a:ext uri="{FF2B5EF4-FFF2-40B4-BE49-F238E27FC236}">
                    <a16:creationId xmlns:a16="http://schemas.microsoft.com/office/drawing/2014/main" id="{726212D2-CF0D-01D1-E6EA-0B2C6CE8946A}"/>
                  </a:ext>
                </a:extLst>
              </p:cNvPr>
              <p:cNvSpPr/>
              <p:nvPr/>
            </p:nvSpPr>
            <p:spPr>
              <a:xfrm>
                <a:off x="2007910" y="2408549"/>
                <a:ext cx="360000" cy="360000"/>
              </a:xfrm>
              <a:prstGeom prst="ellipse">
                <a:avLst/>
              </a:prstGeom>
              <a:noFill/>
              <a:ln w="19050" cap="flat" cmpd="sng" algn="ctr">
                <a:solidFill>
                  <a:schemeClr val="accent1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03040" indent="-203040" algn="ctr" defTabSz="914400">
                  <a:buClr>
                    <a:schemeClr val="bg1"/>
                  </a:buClr>
                  <a:buSzPct val="110000"/>
                  <a:buFont typeface="Wingdings" panose="05000000000000000000" pitchFamily="2" charset="2"/>
                  <a:buChar char="§"/>
                </a:pPr>
                <a:endParaRPr kumimoji="0" lang="de-DE" b="0" i="0" u="none" strike="noStrike" kern="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46" name="Ellipse 45">
                <a:extLst>
                  <a:ext uri="{FF2B5EF4-FFF2-40B4-BE49-F238E27FC236}">
                    <a16:creationId xmlns:a16="http://schemas.microsoft.com/office/drawing/2014/main" id="{0FDDF018-F033-7366-DA67-664033DA034F}"/>
                  </a:ext>
                </a:extLst>
              </p:cNvPr>
              <p:cNvSpPr/>
              <p:nvPr/>
            </p:nvSpPr>
            <p:spPr>
              <a:xfrm>
                <a:off x="2007910" y="2588549"/>
                <a:ext cx="360000" cy="360000"/>
              </a:xfrm>
              <a:prstGeom prst="ellipse">
                <a:avLst/>
              </a:prstGeom>
              <a:noFill/>
              <a:ln w="19050" cap="flat" cmpd="sng" algn="ctr">
                <a:solidFill>
                  <a:schemeClr val="accent1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03040" indent="-203040" algn="ctr" defTabSz="914400">
                  <a:buClr>
                    <a:schemeClr val="bg1"/>
                  </a:buClr>
                  <a:buSzPct val="110000"/>
                  <a:buFont typeface="Wingdings" panose="05000000000000000000" pitchFamily="2" charset="2"/>
                  <a:buChar char="§"/>
                </a:pPr>
                <a:endParaRPr kumimoji="0" lang="de-DE" b="0" i="0" u="none" strike="noStrike" kern="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cxnSp>
          <p:nvCxnSpPr>
            <p:cNvPr id="38" name="Gerader Verbinder 37">
              <a:extLst>
                <a:ext uri="{FF2B5EF4-FFF2-40B4-BE49-F238E27FC236}">
                  <a16:creationId xmlns:a16="http://schemas.microsoft.com/office/drawing/2014/main" id="{0E1FD31C-A619-8D2C-5A1F-B98CB7449D2C}"/>
                </a:ext>
              </a:extLst>
            </p:cNvPr>
            <p:cNvCxnSpPr>
              <a:cxnSpLocks/>
              <a:endCxn id="45" idx="0"/>
            </p:cNvCxnSpPr>
            <p:nvPr/>
          </p:nvCxnSpPr>
          <p:spPr>
            <a:xfrm>
              <a:off x="2346361" y="1968498"/>
              <a:ext cx="0" cy="140037"/>
            </a:xfrm>
            <a:prstGeom prst="line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>
              <a:extLst>
                <a:ext uri="{FF2B5EF4-FFF2-40B4-BE49-F238E27FC236}">
                  <a16:creationId xmlns:a16="http://schemas.microsoft.com/office/drawing/2014/main" id="{FB3E5E48-A6C4-F9A3-FEAB-2B2BA619E73F}"/>
                </a:ext>
              </a:extLst>
            </p:cNvPr>
            <p:cNvCxnSpPr>
              <a:cxnSpLocks/>
              <a:stCxn id="46" idx="4"/>
            </p:cNvCxnSpPr>
            <p:nvPr/>
          </p:nvCxnSpPr>
          <p:spPr>
            <a:xfrm>
              <a:off x="2346361" y="2648536"/>
              <a:ext cx="2" cy="484008"/>
            </a:xfrm>
            <a:prstGeom prst="line">
              <a:avLst/>
            </a:prstGeom>
            <a:ln w="19050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94A03ED7-BE3A-47B1-7713-91AE969DC181}"/>
              </a:ext>
            </a:extLst>
          </p:cNvPr>
          <p:cNvCxnSpPr>
            <a:cxnSpLocks/>
          </p:cNvCxnSpPr>
          <p:nvPr/>
        </p:nvCxnSpPr>
        <p:spPr>
          <a:xfrm>
            <a:off x="365549" y="4133817"/>
            <a:ext cx="3456000" cy="0"/>
          </a:xfrm>
          <a:prstGeom prst="line">
            <a:avLst/>
          </a:prstGeom>
          <a:ln w="381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93A00866-F9AE-52A6-3813-FF8C21187E6C}"/>
              </a:ext>
            </a:extLst>
          </p:cNvPr>
          <p:cNvCxnSpPr>
            <a:cxnSpLocks/>
          </p:cNvCxnSpPr>
          <p:nvPr/>
        </p:nvCxnSpPr>
        <p:spPr>
          <a:xfrm flipV="1">
            <a:off x="365549" y="5783095"/>
            <a:ext cx="3456000" cy="0"/>
          </a:xfrm>
          <a:prstGeom prst="line">
            <a:avLst/>
          </a:prstGeom>
          <a:ln w="381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Textfeld 48">
            <a:extLst>
              <a:ext uri="{FF2B5EF4-FFF2-40B4-BE49-F238E27FC236}">
                <a16:creationId xmlns:a16="http://schemas.microsoft.com/office/drawing/2014/main" id="{8FCE56C8-E4E5-1C7B-85A3-33C8111644AD}"/>
              </a:ext>
            </a:extLst>
          </p:cNvPr>
          <p:cNvSpPr txBox="1"/>
          <p:nvPr/>
        </p:nvSpPr>
        <p:spPr>
          <a:xfrm>
            <a:off x="426414" y="3961769"/>
            <a:ext cx="914400" cy="351035"/>
          </a:xfrm>
          <a:prstGeom prst="rect">
            <a:avLst/>
          </a:prstGeom>
          <a:noFill/>
        </p:spPr>
        <p:txBody>
          <a:bodyPr wrap="square" lIns="90000" tIns="90000" rIns="90000" bIns="90000" rtlCol="0">
            <a:spAutoFit/>
          </a:bodyPr>
          <a:lstStyle/>
          <a:p>
            <a:pPr algn="just">
              <a:spcBef>
                <a:spcPts val="600"/>
              </a:spcBef>
              <a:buClr>
                <a:schemeClr val="accent3"/>
              </a:buClr>
              <a:buSzPct val="110000"/>
            </a:pPr>
            <a:r>
              <a:rPr lang="de-DE" sz="1100" i="1">
                <a:solidFill>
                  <a:schemeClr val="accent1"/>
                </a:solidFill>
                <a:highlight>
                  <a:srgbClr val="FFFFFF"/>
                </a:highlight>
              </a:rPr>
              <a:t>NE5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EB04F824-6606-CCF9-CEB2-ED5FF95ECEEF}"/>
              </a:ext>
            </a:extLst>
          </p:cNvPr>
          <p:cNvSpPr txBox="1"/>
          <p:nvPr/>
        </p:nvSpPr>
        <p:spPr>
          <a:xfrm>
            <a:off x="426414" y="5614923"/>
            <a:ext cx="914400" cy="351035"/>
          </a:xfrm>
          <a:prstGeom prst="rect">
            <a:avLst/>
          </a:prstGeom>
          <a:noFill/>
        </p:spPr>
        <p:txBody>
          <a:bodyPr wrap="square" lIns="90000" tIns="90000" rIns="90000" bIns="90000" rtlCol="0">
            <a:spAutoFit/>
          </a:bodyPr>
          <a:lstStyle/>
          <a:p>
            <a:pPr algn="just">
              <a:spcBef>
                <a:spcPts val="600"/>
              </a:spcBef>
              <a:buClr>
                <a:schemeClr val="accent3"/>
              </a:buClr>
              <a:buSzPct val="110000"/>
            </a:pPr>
            <a:r>
              <a:rPr lang="de-DE" sz="1100" i="1">
                <a:solidFill>
                  <a:schemeClr val="accent1"/>
                </a:solidFill>
                <a:highlight>
                  <a:srgbClr val="FFFFFF"/>
                </a:highlight>
              </a:rPr>
              <a:t>NE7</a:t>
            </a:r>
          </a:p>
        </p:txBody>
      </p: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363BAF2B-201E-D9B1-144C-ADB64296A15D}"/>
              </a:ext>
            </a:extLst>
          </p:cNvPr>
          <p:cNvGrpSpPr/>
          <p:nvPr/>
        </p:nvGrpSpPr>
        <p:grpSpPr>
          <a:xfrm>
            <a:off x="1749699" y="5917050"/>
            <a:ext cx="231522" cy="102578"/>
            <a:chOff x="5626354" y="5790483"/>
            <a:chExt cx="231522" cy="102578"/>
          </a:xfrm>
        </p:grpSpPr>
        <p:sp>
          <p:nvSpPr>
            <p:cNvPr id="52" name="Textfeld 51">
              <a:extLst>
                <a:ext uri="{FF2B5EF4-FFF2-40B4-BE49-F238E27FC236}">
                  <a16:creationId xmlns:a16="http://schemas.microsoft.com/office/drawing/2014/main" id="{CED3D8C9-D3EE-D9B8-835E-1DBEBAA5E465}"/>
                </a:ext>
              </a:extLst>
            </p:cNvPr>
            <p:cNvSpPr txBox="1"/>
            <p:nvPr/>
          </p:nvSpPr>
          <p:spPr>
            <a:xfrm>
              <a:off x="5640640" y="5790483"/>
              <a:ext cx="207710" cy="10019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0000" tIns="90000" rIns="90000" bIns="90000" rtlCol="0">
              <a:noAutofit/>
            </a:bodyPr>
            <a:lstStyle/>
            <a:p>
              <a:pPr>
                <a:spcBef>
                  <a:spcPts val="600"/>
                </a:spcBef>
                <a:buClr>
                  <a:schemeClr val="accent3"/>
                </a:buClr>
                <a:buSzPct val="110000"/>
              </a:pPr>
              <a:endParaRPr lang="de-DE" sz="1500">
                <a:solidFill>
                  <a:schemeClr val="bg1"/>
                </a:solidFill>
              </a:endParaRPr>
            </a:p>
          </p:txBody>
        </p:sp>
        <p:sp>
          <p:nvSpPr>
            <p:cNvPr id="53" name="Textfeld 52">
              <a:extLst>
                <a:ext uri="{FF2B5EF4-FFF2-40B4-BE49-F238E27FC236}">
                  <a16:creationId xmlns:a16="http://schemas.microsoft.com/office/drawing/2014/main" id="{5EE2B644-A2CD-9E19-C1C9-85E3612B0ED2}"/>
                </a:ext>
              </a:extLst>
            </p:cNvPr>
            <p:cNvSpPr txBox="1"/>
            <p:nvPr/>
          </p:nvSpPr>
          <p:spPr>
            <a:xfrm>
              <a:off x="5626354" y="5847342"/>
              <a:ext cx="231522" cy="4571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0000" tIns="90000" rIns="90000" bIns="90000" rtlCol="0">
              <a:noAutofit/>
            </a:bodyPr>
            <a:lstStyle/>
            <a:p>
              <a:pPr>
                <a:spcBef>
                  <a:spcPts val="600"/>
                </a:spcBef>
                <a:buClr>
                  <a:schemeClr val="accent3"/>
                </a:buClr>
                <a:buSzPct val="110000"/>
              </a:pPr>
              <a:endParaRPr lang="de-DE" sz="1500">
                <a:solidFill>
                  <a:schemeClr val="bg1"/>
                </a:solidFill>
              </a:endParaRPr>
            </a:p>
          </p:txBody>
        </p:sp>
      </p:grp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89063137-CD69-D5FB-F8CB-F2DD74FFF78A}"/>
              </a:ext>
            </a:extLst>
          </p:cNvPr>
          <p:cNvCxnSpPr>
            <a:cxnSpLocks/>
          </p:cNvCxnSpPr>
          <p:nvPr/>
        </p:nvCxnSpPr>
        <p:spPr>
          <a:xfrm>
            <a:off x="2162703" y="4302546"/>
            <a:ext cx="2641" cy="353575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2D7AB22A-94AF-A3B7-3C5B-6613846DA835}"/>
              </a:ext>
            </a:extLst>
          </p:cNvPr>
          <p:cNvGrpSpPr/>
          <p:nvPr/>
        </p:nvGrpSpPr>
        <p:grpSpPr>
          <a:xfrm>
            <a:off x="945127" y="2911819"/>
            <a:ext cx="231598" cy="1236335"/>
            <a:chOff x="2166361" y="1354944"/>
            <a:chExt cx="360000" cy="1921779"/>
          </a:xfrm>
        </p:grpSpPr>
        <p:grpSp>
          <p:nvGrpSpPr>
            <p:cNvPr id="58" name="Gruppieren 57">
              <a:extLst>
                <a:ext uri="{FF2B5EF4-FFF2-40B4-BE49-F238E27FC236}">
                  <a16:creationId xmlns:a16="http://schemas.microsoft.com/office/drawing/2014/main" id="{C42BED45-9F40-4844-00C9-4E585BE448A1}"/>
                </a:ext>
              </a:extLst>
            </p:cNvPr>
            <p:cNvGrpSpPr/>
            <p:nvPr/>
          </p:nvGrpSpPr>
          <p:grpSpPr>
            <a:xfrm>
              <a:off x="2166361" y="2108536"/>
              <a:ext cx="360000" cy="540000"/>
              <a:chOff x="2007910" y="2408549"/>
              <a:chExt cx="360000" cy="540000"/>
            </a:xfrm>
          </p:grpSpPr>
          <p:sp>
            <p:nvSpPr>
              <p:cNvPr id="63" name="Ellipse 62">
                <a:extLst>
                  <a:ext uri="{FF2B5EF4-FFF2-40B4-BE49-F238E27FC236}">
                    <a16:creationId xmlns:a16="http://schemas.microsoft.com/office/drawing/2014/main" id="{ABDFF3B6-A832-87FB-55EF-79262532B6D4}"/>
                  </a:ext>
                </a:extLst>
              </p:cNvPr>
              <p:cNvSpPr/>
              <p:nvPr/>
            </p:nvSpPr>
            <p:spPr>
              <a:xfrm>
                <a:off x="2007910" y="2408549"/>
                <a:ext cx="360000" cy="360000"/>
              </a:xfrm>
              <a:prstGeom prst="ellipse">
                <a:avLst/>
              </a:prstGeom>
              <a:noFill/>
              <a:ln w="19050" cap="flat" cmpd="sng" algn="ctr">
                <a:solidFill>
                  <a:schemeClr val="accent1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03040" indent="-203040" algn="ctr" defTabSz="914400">
                  <a:buClr>
                    <a:schemeClr val="bg1"/>
                  </a:buClr>
                  <a:buSzPct val="110000"/>
                  <a:buFont typeface="Wingdings" panose="05000000000000000000" pitchFamily="2" charset="2"/>
                  <a:buChar char="§"/>
                </a:pPr>
                <a:endParaRPr kumimoji="0" lang="de-DE" b="0" i="0" u="none" strike="noStrike" kern="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64" name="Ellipse 63">
                <a:extLst>
                  <a:ext uri="{FF2B5EF4-FFF2-40B4-BE49-F238E27FC236}">
                    <a16:creationId xmlns:a16="http://schemas.microsoft.com/office/drawing/2014/main" id="{F0C42AFB-3C5A-55C6-5B2B-D96CF52F3C02}"/>
                  </a:ext>
                </a:extLst>
              </p:cNvPr>
              <p:cNvSpPr/>
              <p:nvPr/>
            </p:nvSpPr>
            <p:spPr>
              <a:xfrm>
                <a:off x="2007910" y="2588549"/>
                <a:ext cx="360000" cy="360000"/>
              </a:xfrm>
              <a:prstGeom prst="ellipse">
                <a:avLst/>
              </a:prstGeom>
              <a:noFill/>
              <a:ln w="19050" cap="flat" cmpd="sng" algn="ctr">
                <a:solidFill>
                  <a:schemeClr val="accent1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03040" indent="-203040" algn="ctr" defTabSz="914400">
                  <a:buClr>
                    <a:schemeClr val="bg1"/>
                  </a:buClr>
                  <a:buSzPct val="110000"/>
                  <a:buFont typeface="Wingdings" panose="05000000000000000000" pitchFamily="2" charset="2"/>
                  <a:buChar char="§"/>
                </a:pPr>
                <a:endParaRPr kumimoji="0" lang="de-DE" b="0" i="0" u="none" strike="noStrike" kern="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cxnSp>
          <p:nvCxnSpPr>
            <p:cNvPr id="59" name="Gerader Verbinder 58">
              <a:extLst>
                <a:ext uri="{FF2B5EF4-FFF2-40B4-BE49-F238E27FC236}">
                  <a16:creationId xmlns:a16="http://schemas.microsoft.com/office/drawing/2014/main" id="{06D92BEB-9BED-A9A6-DCB4-5820AE0A9004}"/>
                </a:ext>
              </a:extLst>
            </p:cNvPr>
            <p:cNvCxnSpPr>
              <a:cxnSpLocks/>
              <a:endCxn id="63" idx="0"/>
            </p:cNvCxnSpPr>
            <p:nvPr/>
          </p:nvCxnSpPr>
          <p:spPr>
            <a:xfrm>
              <a:off x="2346359" y="1354944"/>
              <a:ext cx="2" cy="753592"/>
            </a:xfrm>
            <a:prstGeom prst="line">
              <a:avLst/>
            </a:prstGeom>
            <a:ln w="19050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r Verbinder 60">
              <a:extLst>
                <a:ext uri="{FF2B5EF4-FFF2-40B4-BE49-F238E27FC236}">
                  <a16:creationId xmlns:a16="http://schemas.microsoft.com/office/drawing/2014/main" id="{F98515EA-4997-16F1-8789-20D02FAD5B7F}"/>
                </a:ext>
              </a:extLst>
            </p:cNvPr>
            <p:cNvCxnSpPr>
              <a:cxnSpLocks/>
              <a:stCxn id="64" idx="4"/>
            </p:cNvCxnSpPr>
            <p:nvPr/>
          </p:nvCxnSpPr>
          <p:spPr>
            <a:xfrm flipH="1">
              <a:off x="2346359" y="2648535"/>
              <a:ext cx="2" cy="628188"/>
            </a:xfrm>
            <a:prstGeom prst="line">
              <a:avLst/>
            </a:prstGeom>
            <a:ln w="19050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E3041E75-F350-47EA-EC2F-8600D5756241}"/>
              </a:ext>
            </a:extLst>
          </p:cNvPr>
          <p:cNvGrpSpPr/>
          <p:nvPr/>
        </p:nvGrpSpPr>
        <p:grpSpPr>
          <a:xfrm>
            <a:off x="1243965" y="2911819"/>
            <a:ext cx="231598" cy="1236335"/>
            <a:chOff x="2166361" y="1354944"/>
            <a:chExt cx="360000" cy="1921779"/>
          </a:xfrm>
        </p:grpSpPr>
        <p:cxnSp>
          <p:nvCxnSpPr>
            <p:cNvPr id="66" name="Gerader Verbinder 65">
              <a:extLst>
                <a:ext uri="{FF2B5EF4-FFF2-40B4-BE49-F238E27FC236}">
                  <a16:creationId xmlns:a16="http://schemas.microsoft.com/office/drawing/2014/main" id="{ACFFB322-86A1-E019-C65E-A5D6C7777E7E}"/>
                </a:ext>
              </a:extLst>
            </p:cNvPr>
            <p:cNvCxnSpPr>
              <a:cxnSpLocks/>
              <a:endCxn id="70" idx="0"/>
            </p:cNvCxnSpPr>
            <p:nvPr/>
          </p:nvCxnSpPr>
          <p:spPr>
            <a:xfrm>
              <a:off x="2346359" y="1354944"/>
              <a:ext cx="2" cy="753592"/>
            </a:xfrm>
            <a:prstGeom prst="line">
              <a:avLst/>
            </a:prstGeom>
            <a:ln w="19050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7" name="Gruppieren 66">
              <a:extLst>
                <a:ext uri="{FF2B5EF4-FFF2-40B4-BE49-F238E27FC236}">
                  <a16:creationId xmlns:a16="http://schemas.microsoft.com/office/drawing/2014/main" id="{2DBD8528-D069-EB23-7EFD-A67C683B4223}"/>
                </a:ext>
              </a:extLst>
            </p:cNvPr>
            <p:cNvGrpSpPr/>
            <p:nvPr/>
          </p:nvGrpSpPr>
          <p:grpSpPr>
            <a:xfrm>
              <a:off x="2166361" y="2108536"/>
              <a:ext cx="360000" cy="540000"/>
              <a:chOff x="2007910" y="2408549"/>
              <a:chExt cx="360000" cy="540000"/>
            </a:xfrm>
          </p:grpSpPr>
          <p:sp>
            <p:nvSpPr>
              <p:cNvPr id="70" name="Ellipse 69">
                <a:extLst>
                  <a:ext uri="{FF2B5EF4-FFF2-40B4-BE49-F238E27FC236}">
                    <a16:creationId xmlns:a16="http://schemas.microsoft.com/office/drawing/2014/main" id="{5401DB1F-5B91-0FF5-3DA7-4B3E0B0F5976}"/>
                  </a:ext>
                </a:extLst>
              </p:cNvPr>
              <p:cNvSpPr/>
              <p:nvPr/>
            </p:nvSpPr>
            <p:spPr>
              <a:xfrm>
                <a:off x="2007910" y="2408549"/>
                <a:ext cx="360000" cy="360000"/>
              </a:xfrm>
              <a:prstGeom prst="ellipse">
                <a:avLst/>
              </a:prstGeom>
              <a:noFill/>
              <a:ln w="19050" cap="flat" cmpd="sng" algn="ctr">
                <a:solidFill>
                  <a:schemeClr val="accent1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03040" indent="-203040" algn="ctr" defTabSz="914400">
                  <a:buClr>
                    <a:schemeClr val="bg1"/>
                  </a:buClr>
                  <a:buSzPct val="110000"/>
                  <a:buFont typeface="Wingdings" panose="05000000000000000000" pitchFamily="2" charset="2"/>
                  <a:buChar char="§"/>
                </a:pPr>
                <a:endParaRPr kumimoji="0" lang="de-DE" b="0" i="0" u="none" strike="noStrike" kern="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71" name="Ellipse 70">
                <a:extLst>
                  <a:ext uri="{FF2B5EF4-FFF2-40B4-BE49-F238E27FC236}">
                    <a16:creationId xmlns:a16="http://schemas.microsoft.com/office/drawing/2014/main" id="{3048ABF4-230A-5266-E4CE-274262961062}"/>
                  </a:ext>
                </a:extLst>
              </p:cNvPr>
              <p:cNvSpPr/>
              <p:nvPr/>
            </p:nvSpPr>
            <p:spPr>
              <a:xfrm>
                <a:off x="2007910" y="2588549"/>
                <a:ext cx="360000" cy="360000"/>
              </a:xfrm>
              <a:prstGeom prst="ellipse">
                <a:avLst/>
              </a:prstGeom>
              <a:noFill/>
              <a:ln w="19050" cap="flat" cmpd="sng" algn="ctr">
                <a:solidFill>
                  <a:schemeClr val="accent1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03040" indent="-203040" algn="ctr" defTabSz="914400">
                  <a:buClr>
                    <a:schemeClr val="bg1"/>
                  </a:buClr>
                  <a:buSzPct val="110000"/>
                  <a:buFont typeface="Wingdings" panose="05000000000000000000" pitchFamily="2" charset="2"/>
                  <a:buChar char="§"/>
                </a:pPr>
                <a:endParaRPr kumimoji="0" lang="de-DE" b="0" i="0" u="none" strike="noStrike" kern="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E17892C2-87F8-591C-1BF8-F8C0A97FE019}"/>
                </a:ext>
              </a:extLst>
            </p:cNvPr>
            <p:cNvCxnSpPr>
              <a:cxnSpLocks/>
              <a:stCxn id="71" idx="4"/>
            </p:cNvCxnSpPr>
            <p:nvPr/>
          </p:nvCxnSpPr>
          <p:spPr>
            <a:xfrm flipH="1">
              <a:off x="2346359" y="2648535"/>
              <a:ext cx="2" cy="628188"/>
            </a:xfrm>
            <a:prstGeom prst="line">
              <a:avLst/>
            </a:prstGeom>
            <a:ln w="19050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uppieren 72">
            <a:extLst>
              <a:ext uri="{FF2B5EF4-FFF2-40B4-BE49-F238E27FC236}">
                <a16:creationId xmlns:a16="http://schemas.microsoft.com/office/drawing/2014/main" id="{F7CDCEA1-06F6-923C-18E8-BF078A1A1A53}"/>
              </a:ext>
            </a:extLst>
          </p:cNvPr>
          <p:cNvGrpSpPr/>
          <p:nvPr/>
        </p:nvGrpSpPr>
        <p:grpSpPr>
          <a:xfrm>
            <a:off x="1357429" y="4628481"/>
            <a:ext cx="231598" cy="347397"/>
            <a:chOff x="2007910" y="2408549"/>
            <a:chExt cx="360000" cy="540000"/>
          </a:xfrm>
        </p:grpSpPr>
        <p:sp>
          <p:nvSpPr>
            <p:cNvPr id="74" name="Ellipse 73">
              <a:extLst>
                <a:ext uri="{FF2B5EF4-FFF2-40B4-BE49-F238E27FC236}">
                  <a16:creationId xmlns:a16="http://schemas.microsoft.com/office/drawing/2014/main" id="{96795BDB-82F4-EF7D-4802-1FAB0995F5D0}"/>
                </a:ext>
              </a:extLst>
            </p:cNvPr>
            <p:cNvSpPr/>
            <p:nvPr/>
          </p:nvSpPr>
          <p:spPr>
            <a:xfrm>
              <a:off x="2007910" y="2408549"/>
              <a:ext cx="360000" cy="360000"/>
            </a:xfrm>
            <a:prstGeom prst="ellipse">
              <a:avLst/>
            </a:prstGeom>
            <a:noFill/>
            <a:ln w="1905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03040" indent="-203040" algn="ctr" defTabSz="914400">
                <a:buClr>
                  <a:schemeClr val="bg1"/>
                </a:buClr>
                <a:buSzPct val="110000"/>
                <a:buFont typeface="Wingdings" panose="05000000000000000000" pitchFamily="2" charset="2"/>
                <a:buChar char="§"/>
              </a:pPr>
              <a:endParaRPr kumimoji="0" lang="de-DE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5" name="Ellipse 74">
              <a:extLst>
                <a:ext uri="{FF2B5EF4-FFF2-40B4-BE49-F238E27FC236}">
                  <a16:creationId xmlns:a16="http://schemas.microsoft.com/office/drawing/2014/main" id="{C40A4D9C-3EFD-4D47-27FD-9E4006BBCFFE}"/>
                </a:ext>
              </a:extLst>
            </p:cNvPr>
            <p:cNvSpPr/>
            <p:nvPr/>
          </p:nvSpPr>
          <p:spPr>
            <a:xfrm>
              <a:off x="2007910" y="2588549"/>
              <a:ext cx="360000" cy="360000"/>
            </a:xfrm>
            <a:prstGeom prst="ellipse">
              <a:avLst/>
            </a:prstGeom>
            <a:noFill/>
            <a:ln w="1905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03040" indent="-203040" algn="ctr" defTabSz="914400">
                <a:buClr>
                  <a:schemeClr val="bg1"/>
                </a:buClr>
                <a:buSzPct val="110000"/>
                <a:buFont typeface="Wingdings" panose="05000000000000000000" pitchFamily="2" charset="2"/>
                <a:buChar char="§"/>
              </a:pPr>
              <a:endParaRPr kumimoji="0" lang="de-DE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7FB2060-FCE5-96E9-719F-FBE59BC7807D}"/>
              </a:ext>
            </a:extLst>
          </p:cNvPr>
          <p:cNvCxnSpPr>
            <a:cxnSpLocks/>
            <a:endCxn id="74" idx="0"/>
          </p:cNvCxnSpPr>
          <p:nvPr/>
        </p:nvCxnSpPr>
        <p:spPr>
          <a:xfrm>
            <a:off x="1473227" y="4143674"/>
            <a:ext cx="1" cy="484807"/>
          </a:xfrm>
          <a:prstGeom prst="line">
            <a:avLst/>
          </a:prstGeom>
          <a:ln w="1905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EA456D31-D889-4E64-39F6-B65A35AFDEC1}"/>
              </a:ext>
            </a:extLst>
          </p:cNvPr>
          <p:cNvCxnSpPr>
            <a:cxnSpLocks/>
            <a:stCxn id="75" idx="4"/>
          </p:cNvCxnSpPr>
          <p:nvPr/>
        </p:nvCxnSpPr>
        <p:spPr>
          <a:xfrm flipH="1">
            <a:off x="1473227" y="4975878"/>
            <a:ext cx="1" cy="807217"/>
          </a:xfrm>
          <a:prstGeom prst="line">
            <a:avLst/>
          </a:prstGeom>
          <a:ln w="1905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9" name="Textfeld 78">
            <a:extLst>
              <a:ext uri="{FF2B5EF4-FFF2-40B4-BE49-F238E27FC236}">
                <a16:creationId xmlns:a16="http://schemas.microsoft.com/office/drawing/2014/main" id="{4C106574-0A5E-4F28-F912-B9AD1FE6CDFF}"/>
              </a:ext>
            </a:extLst>
          </p:cNvPr>
          <p:cNvSpPr txBox="1"/>
          <p:nvPr/>
        </p:nvSpPr>
        <p:spPr>
          <a:xfrm>
            <a:off x="426414" y="4656121"/>
            <a:ext cx="914400" cy="351035"/>
          </a:xfrm>
          <a:prstGeom prst="rect">
            <a:avLst/>
          </a:prstGeom>
          <a:noFill/>
        </p:spPr>
        <p:txBody>
          <a:bodyPr wrap="square" lIns="90000" tIns="90000" rIns="90000" bIns="90000" rtlCol="0">
            <a:spAutoFit/>
          </a:bodyPr>
          <a:lstStyle/>
          <a:p>
            <a:pPr algn="just">
              <a:spcBef>
                <a:spcPts val="600"/>
              </a:spcBef>
              <a:buClr>
                <a:schemeClr val="accent3"/>
              </a:buClr>
              <a:buSzPct val="110000"/>
            </a:pPr>
            <a:r>
              <a:rPr lang="de-DE" sz="1100" i="1">
                <a:solidFill>
                  <a:schemeClr val="accent1"/>
                </a:solidFill>
                <a:highlight>
                  <a:srgbClr val="FFFFFF"/>
                </a:highlight>
              </a:rPr>
              <a:t>NE6</a:t>
            </a:r>
          </a:p>
        </p:txBody>
      </p:sp>
      <p:sp>
        <p:nvSpPr>
          <p:cNvPr id="80" name="Textfeld 79">
            <a:extLst>
              <a:ext uri="{FF2B5EF4-FFF2-40B4-BE49-F238E27FC236}">
                <a16:creationId xmlns:a16="http://schemas.microsoft.com/office/drawing/2014/main" id="{749F3A2D-3F11-8B8A-1A0F-FA5FD2E2ED42}"/>
              </a:ext>
            </a:extLst>
          </p:cNvPr>
          <p:cNvSpPr txBox="1"/>
          <p:nvPr/>
        </p:nvSpPr>
        <p:spPr>
          <a:xfrm>
            <a:off x="426414" y="3377692"/>
            <a:ext cx="914400" cy="351035"/>
          </a:xfrm>
          <a:prstGeom prst="rect">
            <a:avLst/>
          </a:prstGeom>
          <a:noFill/>
        </p:spPr>
        <p:txBody>
          <a:bodyPr wrap="square" lIns="90000" tIns="90000" rIns="90000" bIns="90000" rtlCol="0">
            <a:spAutoFit/>
          </a:bodyPr>
          <a:lstStyle/>
          <a:p>
            <a:pPr algn="just">
              <a:spcBef>
                <a:spcPts val="600"/>
              </a:spcBef>
              <a:buClr>
                <a:schemeClr val="accent3"/>
              </a:buClr>
              <a:buSzPct val="110000"/>
            </a:pPr>
            <a:r>
              <a:rPr lang="de-DE" sz="1100" i="1">
                <a:solidFill>
                  <a:schemeClr val="accent1"/>
                </a:solidFill>
                <a:highlight>
                  <a:srgbClr val="FFFFFF"/>
                </a:highlight>
              </a:rPr>
              <a:t>NE4</a:t>
            </a:r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6EC065D5-8213-D354-E2E0-6468A363D962}"/>
              </a:ext>
            </a:extLst>
          </p:cNvPr>
          <p:cNvSpPr txBox="1"/>
          <p:nvPr/>
        </p:nvSpPr>
        <p:spPr>
          <a:xfrm>
            <a:off x="2449158" y="4533055"/>
            <a:ext cx="1759973" cy="7899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defTabSz="540000">
              <a:lnSpc>
                <a:spcPct val="100000"/>
              </a:lnSpc>
              <a:spcAft>
                <a:spcPts val="400"/>
              </a:spcAft>
            </a:pPr>
            <a:r>
              <a:rPr lang="de-DE" sz="1200"/>
              <a:t>Bestand: </a:t>
            </a:r>
            <a:br>
              <a:rPr lang="de-DE" sz="1200"/>
            </a:br>
            <a:r>
              <a:rPr lang="de-DE" sz="1200"/>
              <a:t>	</a:t>
            </a:r>
            <a:r>
              <a:rPr lang="de-DE" sz="1200" b="1"/>
              <a:t>0,5 MW</a:t>
            </a:r>
          </a:p>
          <a:p>
            <a:pPr algn="l" defTabSz="540000">
              <a:lnSpc>
                <a:spcPct val="100000"/>
              </a:lnSpc>
              <a:spcAft>
                <a:spcPts val="400"/>
              </a:spcAft>
            </a:pPr>
            <a:r>
              <a:rPr lang="de-DE" sz="1200"/>
              <a:t>Wunsch: Erweiterung auf</a:t>
            </a:r>
            <a:br>
              <a:rPr lang="de-DE" sz="1200"/>
            </a:br>
            <a:r>
              <a:rPr lang="de-DE" sz="1200"/>
              <a:t>	</a:t>
            </a:r>
            <a:r>
              <a:rPr lang="de-DE" sz="1200" b="1"/>
              <a:t>2 MW </a:t>
            </a:r>
            <a:r>
              <a:rPr lang="de-DE" sz="1200" b="1">
                <a:solidFill>
                  <a:schemeClr val="accent4"/>
                </a:solidFill>
              </a:rPr>
              <a:t>(+1,5 MW)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FA74DE9A-5746-C521-E494-4B7C26FE2010}"/>
              </a:ext>
            </a:extLst>
          </p:cNvPr>
          <p:cNvSpPr/>
          <p:nvPr/>
        </p:nvSpPr>
        <p:spPr>
          <a:xfrm>
            <a:off x="1927888" y="3961682"/>
            <a:ext cx="467374" cy="34086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540000">
              <a:lnSpc>
                <a:spcPct val="100000"/>
              </a:lnSpc>
              <a:spcAft>
                <a:spcPts val="400"/>
              </a:spcAft>
            </a:pPr>
            <a:r>
              <a:rPr lang="de-DE" sz="1100"/>
              <a:t>NVP</a:t>
            </a:r>
          </a:p>
        </p:txBody>
      </p: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3693A6EC-79A4-1E67-B281-CD8BD7DC5B7F}"/>
              </a:ext>
            </a:extLst>
          </p:cNvPr>
          <p:cNvCxnSpPr>
            <a:cxnSpLocks/>
          </p:cNvCxnSpPr>
          <p:nvPr/>
        </p:nvCxnSpPr>
        <p:spPr>
          <a:xfrm>
            <a:off x="2395262" y="4132114"/>
            <a:ext cx="844515" cy="218079"/>
          </a:xfrm>
          <a:prstGeom prst="line">
            <a:avLst/>
          </a:prstGeom>
          <a:ln w="635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4" name="Gruppieren 83">
            <a:extLst>
              <a:ext uri="{FF2B5EF4-FFF2-40B4-BE49-F238E27FC236}">
                <a16:creationId xmlns:a16="http://schemas.microsoft.com/office/drawing/2014/main" id="{F8FC5597-6094-5A8A-A619-5AF1E515B59E}"/>
              </a:ext>
            </a:extLst>
          </p:cNvPr>
          <p:cNvGrpSpPr/>
          <p:nvPr/>
        </p:nvGrpSpPr>
        <p:grpSpPr>
          <a:xfrm>
            <a:off x="3250720" y="2911819"/>
            <a:ext cx="231598" cy="1236335"/>
            <a:chOff x="2166361" y="1354944"/>
            <a:chExt cx="360000" cy="1921779"/>
          </a:xfrm>
        </p:grpSpPr>
        <p:grpSp>
          <p:nvGrpSpPr>
            <p:cNvPr id="86" name="Gruppieren 85">
              <a:extLst>
                <a:ext uri="{FF2B5EF4-FFF2-40B4-BE49-F238E27FC236}">
                  <a16:creationId xmlns:a16="http://schemas.microsoft.com/office/drawing/2014/main" id="{7CD5E9FD-7D19-DB14-7D24-9CAA5BCA9CDB}"/>
                </a:ext>
              </a:extLst>
            </p:cNvPr>
            <p:cNvGrpSpPr/>
            <p:nvPr/>
          </p:nvGrpSpPr>
          <p:grpSpPr>
            <a:xfrm>
              <a:off x="2166361" y="2108536"/>
              <a:ext cx="360000" cy="540000"/>
              <a:chOff x="2007910" y="2408549"/>
              <a:chExt cx="360000" cy="540000"/>
            </a:xfrm>
          </p:grpSpPr>
          <p:sp>
            <p:nvSpPr>
              <p:cNvPr id="89" name="Ellipse 88">
                <a:extLst>
                  <a:ext uri="{FF2B5EF4-FFF2-40B4-BE49-F238E27FC236}">
                    <a16:creationId xmlns:a16="http://schemas.microsoft.com/office/drawing/2014/main" id="{7E3B9C7F-8C9C-8EA2-0DCE-1C149E670541}"/>
                  </a:ext>
                </a:extLst>
              </p:cNvPr>
              <p:cNvSpPr/>
              <p:nvPr/>
            </p:nvSpPr>
            <p:spPr>
              <a:xfrm>
                <a:off x="2007910" y="2408549"/>
                <a:ext cx="360000" cy="360000"/>
              </a:xfrm>
              <a:prstGeom prst="ellipse">
                <a:avLst/>
              </a:prstGeom>
              <a:noFill/>
              <a:ln w="19050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03040" indent="-203040" algn="ctr" defTabSz="914400">
                  <a:buClr>
                    <a:schemeClr val="bg1"/>
                  </a:buClr>
                  <a:buSzPct val="110000"/>
                  <a:buFont typeface="Wingdings" panose="05000000000000000000" pitchFamily="2" charset="2"/>
                  <a:buChar char="§"/>
                </a:pPr>
                <a:endParaRPr kumimoji="0" lang="de-DE" b="0" i="0" u="none" strike="noStrike" kern="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91" name="Ellipse 90">
                <a:extLst>
                  <a:ext uri="{FF2B5EF4-FFF2-40B4-BE49-F238E27FC236}">
                    <a16:creationId xmlns:a16="http://schemas.microsoft.com/office/drawing/2014/main" id="{D0D3C06A-C61D-9D23-23BE-CDC2D809B20E}"/>
                  </a:ext>
                </a:extLst>
              </p:cNvPr>
              <p:cNvSpPr/>
              <p:nvPr/>
            </p:nvSpPr>
            <p:spPr>
              <a:xfrm>
                <a:off x="2007910" y="2588549"/>
                <a:ext cx="360000" cy="360000"/>
              </a:xfrm>
              <a:prstGeom prst="ellipse">
                <a:avLst/>
              </a:prstGeom>
              <a:noFill/>
              <a:ln w="19050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03040" indent="-203040" algn="ctr" defTabSz="914400">
                  <a:buClr>
                    <a:schemeClr val="bg1"/>
                  </a:buClr>
                  <a:buSzPct val="110000"/>
                  <a:buFont typeface="Wingdings" panose="05000000000000000000" pitchFamily="2" charset="2"/>
                  <a:buChar char="§"/>
                </a:pPr>
                <a:endParaRPr kumimoji="0" lang="de-DE" b="0" i="0" u="none" strike="noStrike" kern="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cxnSp>
          <p:nvCxnSpPr>
            <p:cNvPr id="87" name="Gerader Verbinder 86">
              <a:extLst>
                <a:ext uri="{FF2B5EF4-FFF2-40B4-BE49-F238E27FC236}">
                  <a16:creationId xmlns:a16="http://schemas.microsoft.com/office/drawing/2014/main" id="{452C1B66-C15F-542C-BEBB-147FA28FADC6}"/>
                </a:ext>
              </a:extLst>
            </p:cNvPr>
            <p:cNvCxnSpPr>
              <a:cxnSpLocks/>
              <a:endCxn id="89" idx="0"/>
            </p:cNvCxnSpPr>
            <p:nvPr/>
          </p:nvCxnSpPr>
          <p:spPr>
            <a:xfrm>
              <a:off x="2346359" y="1354944"/>
              <a:ext cx="2" cy="753592"/>
            </a:xfrm>
            <a:prstGeom prst="line">
              <a:avLst/>
            </a:prstGeom>
            <a:ln w="19050" cap="flat" cmpd="sng" algn="ctr">
              <a:solidFill>
                <a:schemeClr val="accent4"/>
              </a:solidFill>
              <a:prstDash val="sysDash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>
              <a:extLst>
                <a:ext uri="{FF2B5EF4-FFF2-40B4-BE49-F238E27FC236}">
                  <a16:creationId xmlns:a16="http://schemas.microsoft.com/office/drawing/2014/main" id="{E67CB7FD-7875-BBBF-01F1-61BCAD0D1A68}"/>
                </a:ext>
              </a:extLst>
            </p:cNvPr>
            <p:cNvCxnSpPr>
              <a:cxnSpLocks/>
              <a:stCxn id="91" idx="4"/>
            </p:cNvCxnSpPr>
            <p:nvPr/>
          </p:nvCxnSpPr>
          <p:spPr>
            <a:xfrm flipH="1">
              <a:off x="2346359" y="2648535"/>
              <a:ext cx="2" cy="628188"/>
            </a:xfrm>
            <a:prstGeom prst="line">
              <a:avLst/>
            </a:prstGeom>
            <a:ln w="19050" cap="flat" cmpd="sng" algn="ctr">
              <a:solidFill>
                <a:schemeClr val="accent4"/>
              </a:solidFill>
              <a:prstDash val="sysDash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2" name="Gruppieren 91">
            <a:extLst>
              <a:ext uri="{FF2B5EF4-FFF2-40B4-BE49-F238E27FC236}">
                <a16:creationId xmlns:a16="http://schemas.microsoft.com/office/drawing/2014/main" id="{8A7CC1DD-463E-535A-64F0-B6A6BAF3D73B}"/>
              </a:ext>
            </a:extLst>
          </p:cNvPr>
          <p:cNvGrpSpPr/>
          <p:nvPr/>
        </p:nvGrpSpPr>
        <p:grpSpPr>
          <a:xfrm>
            <a:off x="3549558" y="2911819"/>
            <a:ext cx="231598" cy="1236335"/>
            <a:chOff x="2166361" y="1354944"/>
            <a:chExt cx="360000" cy="1921779"/>
          </a:xfrm>
        </p:grpSpPr>
        <p:cxnSp>
          <p:nvCxnSpPr>
            <p:cNvPr id="93" name="Gerader Verbinder 92">
              <a:extLst>
                <a:ext uri="{FF2B5EF4-FFF2-40B4-BE49-F238E27FC236}">
                  <a16:creationId xmlns:a16="http://schemas.microsoft.com/office/drawing/2014/main" id="{F3F252B7-21BA-3539-575B-35F76BC7171B}"/>
                </a:ext>
              </a:extLst>
            </p:cNvPr>
            <p:cNvCxnSpPr>
              <a:cxnSpLocks/>
              <a:endCxn id="100" idx="0"/>
            </p:cNvCxnSpPr>
            <p:nvPr/>
          </p:nvCxnSpPr>
          <p:spPr>
            <a:xfrm>
              <a:off x="2346359" y="1354944"/>
              <a:ext cx="2" cy="753592"/>
            </a:xfrm>
            <a:prstGeom prst="line">
              <a:avLst/>
            </a:prstGeom>
            <a:ln w="19050" cap="flat" cmpd="sng" algn="ctr">
              <a:solidFill>
                <a:schemeClr val="accent4"/>
              </a:solidFill>
              <a:prstDash val="sysDash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4" name="Gruppieren 93">
              <a:extLst>
                <a:ext uri="{FF2B5EF4-FFF2-40B4-BE49-F238E27FC236}">
                  <a16:creationId xmlns:a16="http://schemas.microsoft.com/office/drawing/2014/main" id="{C99DF6F8-C402-903E-4C39-85F3BCEFAFE3}"/>
                </a:ext>
              </a:extLst>
            </p:cNvPr>
            <p:cNvGrpSpPr/>
            <p:nvPr/>
          </p:nvGrpSpPr>
          <p:grpSpPr>
            <a:xfrm>
              <a:off x="2166361" y="2108536"/>
              <a:ext cx="360000" cy="540000"/>
              <a:chOff x="2007910" y="2408549"/>
              <a:chExt cx="360000" cy="540000"/>
            </a:xfrm>
          </p:grpSpPr>
          <p:sp>
            <p:nvSpPr>
              <p:cNvPr id="100" name="Ellipse 99">
                <a:extLst>
                  <a:ext uri="{FF2B5EF4-FFF2-40B4-BE49-F238E27FC236}">
                    <a16:creationId xmlns:a16="http://schemas.microsoft.com/office/drawing/2014/main" id="{9AADD9E1-CB9E-8D33-0869-6A7054729345}"/>
                  </a:ext>
                </a:extLst>
              </p:cNvPr>
              <p:cNvSpPr/>
              <p:nvPr/>
            </p:nvSpPr>
            <p:spPr>
              <a:xfrm>
                <a:off x="2007910" y="2408549"/>
                <a:ext cx="360000" cy="360000"/>
              </a:xfrm>
              <a:prstGeom prst="ellipse">
                <a:avLst/>
              </a:prstGeom>
              <a:noFill/>
              <a:ln w="19050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03040" indent="-203040" algn="ctr" defTabSz="914400">
                  <a:buClr>
                    <a:schemeClr val="bg1"/>
                  </a:buClr>
                  <a:buSzPct val="110000"/>
                  <a:buFont typeface="Wingdings" panose="05000000000000000000" pitchFamily="2" charset="2"/>
                  <a:buChar char="§"/>
                </a:pPr>
                <a:endParaRPr kumimoji="0" lang="de-DE" b="0" i="0" u="none" strike="noStrike" kern="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01" name="Ellipse 100">
                <a:extLst>
                  <a:ext uri="{FF2B5EF4-FFF2-40B4-BE49-F238E27FC236}">
                    <a16:creationId xmlns:a16="http://schemas.microsoft.com/office/drawing/2014/main" id="{3534E38D-286E-C2EA-3284-E678EAE01BC3}"/>
                  </a:ext>
                </a:extLst>
              </p:cNvPr>
              <p:cNvSpPr/>
              <p:nvPr/>
            </p:nvSpPr>
            <p:spPr>
              <a:xfrm>
                <a:off x="2007910" y="2588549"/>
                <a:ext cx="360000" cy="360000"/>
              </a:xfrm>
              <a:prstGeom prst="ellipse">
                <a:avLst/>
              </a:prstGeom>
              <a:noFill/>
              <a:ln w="19050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03040" indent="-203040" algn="ctr" defTabSz="914400">
                  <a:buClr>
                    <a:schemeClr val="bg1"/>
                  </a:buClr>
                  <a:buSzPct val="110000"/>
                  <a:buFont typeface="Wingdings" panose="05000000000000000000" pitchFamily="2" charset="2"/>
                  <a:buChar char="§"/>
                </a:pPr>
                <a:endParaRPr kumimoji="0" lang="de-DE" b="0" i="0" u="none" strike="noStrike" kern="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cxnSp>
          <p:nvCxnSpPr>
            <p:cNvPr id="99" name="Gerader Verbinder 98">
              <a:extLst>
                <a:ext uri="{FF2B5EF4-FFF2-40B4-BE49-F238E27FC236}">
                  <a16:creationId xmlns:a16="http://schemas.microsoft.com/office/drawing/2014/main" id="{88AFCC9D-BE92-EEA8-8A67-F4C5BE0DD9D6}"/>
                </a:ext>
              </a:extLst>
            </p:cNvPr>
            <p:cNvCxnSpPr>
              <a:cxnSpLocks/>
              <a:stCxn id="101" idx="4"/>
            </p:cNvCxnSpPr>
            <p:nvPr/>
          </p:nvCxnSpPr>
          <p:spPr>
            <a:xfrm flipH="1">
              <a:off x="2346359" y="2648535"/>
              <a:ext cx="2" cy="628188"/>
            </a:xfrm>
            <a:prstGeom prst="line">
              <a:avLst/>
            </a:prstGeom>
            <a:ln w="19050" cap="flat" cmpd="sng" algn="ctr">
              <a:solidFill>
                <a:schemeClr val="accent4"/>
              </a:solidFill>
              <a:prstDash val="sysDash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2" name="Textfeld 101">
            <a:extLst>
              <a:ext uri="{FF2B5EF4-FFF2-40B4-BE49-F238E27FC236}">
                <a16:creationId xmlns:a16="http://schemas.microsoft.com/office/drawing/2014/main" id="{B1780418-321A-D5E1-2871-03A3C2EDF684}"/>
              </a:ext>
            </a:extLst>
          </p:cNvPr>
          <p:cNvSpPr txBox="1"/>
          <p:nvPr/>
        </p:nvSpPr>
        <p:spPr>
          <a:xfrm>
            <a:off x="2449168" y="2995425"/>
            <a:ext cx="879986" cy="6052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540000">
              <a:lnSpc>
                <a:spcPct val="100000"/>
              </a:lnSpc>
              <a:spcAft>
                <a:spcPts val="400"/>
              </a:spcAft>
            </a:pPr>
            <a:r>
              <a:rPr lang="de-DE" sz="1600" b="1">
                <a:solidFill>
                  <a:schemeClr val="accent4"/>
                </a:solidFill>
              </a:rPr>
              <a:t>UW B </a:t>
            </a:r>
          </a:p>
          <a:p>
            <a:pPr defTabSz="540000">
              <a:lnSpc>
                <a:spcPct val="100000"/>
              </a:lnSpc>
              <a:spcAft>
                <a:spcPts val="400"/>
              </a:spcAft>
            </a:pPr>
            <a:r>
              <a:rPr lang="de-DE" sz="1000">
                <a:solidFill>
                  <a:schemeClr val="accent4"/>
                </a:solidFill>
              </a:rPr>
              <a:t>Bau erst noch in Planung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9B366092-6B65-2163-8228-12CBFA6CF3DF}"/>
              </a:ext>
            </a:extLst>
          </p:cNvPr>
          <p:cNvSpPr txBox="1"/>
          <p:nvPr/>
        </p:nvSpPr>
        <p:spPr>
          <a:xfrm>
            <a:off x="5674391" y="1746486"/>
            <a:ext cx="495943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540000">
              <a:lnSpc>
                <a:spcPct val="100000"/>
              </a:lnSpc>
              <a:spcAft>
                <a:spcPts val="400"/>
              </a:spcAft>
            </a:pPr>
            <a:r>
              <a:rPr lang="de-DE" b="1">
                <a:solidFill>
                  <a:srgbClr val="FFFFFF"/>
                </a:solidFill>
              </a:rPr>
              <a:t>Wie werden die 1,5 MW angeschlossen?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3402D2A-710E-A6E3-D255-61ABF95CDF66}"/>
              </a:ext>
            </a:extLst>
          </p:cNvPr>
          <p:cNvSpPr txBox="1"/>
          <p:nvPr/>
        </p:nvSpPr>
        <p:spPr>
          <a:xfrm>
            <a:off x="539167" y="2995425"/>
            <a:ext cx="244963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540000">
              <a:lnSpc>
                <a:spcPct val="100000"/>
              </a:lnSpc>
              <a:spcAft>
                <a:spcPts val="400"/>
              </a:spcAft>
            </a:pPr>
            <a:r>
              <a:rPr lang="de-DE" sz="1600" b="1">
                <a:solidFill>
                  <a:schemeClr val="accent1"/>
                </a:solidFill>
              </a:rPr>
              <a:t>UW A</a:t>
            </a:r>
            <a:endParaRPr lang="de-DE" sz="1600">
              <a:solidFill>
                <a:schemeClr val="accent1"/>
              </a:solidFill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C5052FD-AF59-561E-57B6-2BA5BFB9916C}"/>
              </a:ext>
            </a:extLst>
          </p:cNvPr>
          <p:cNvSpPr txBox="1"/>
          <p:nvPr/>
        </p:nvSpPr>
        <p:spPr>
          <a:xfrm>
            <a:off x="3069954" y="4335372"/>
            <a:ext cx="1393304" cy="1930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defTabSz="540000">
              <a:lnSpc>
                <a:spcPct val="110000"/>
              </a:lnSpc>
              <a:spcAft>
                <a:spcPts val="400"/>
              </a:spcAft>
            </a:pPr>
            <a:r>
              <a:rPr lang="de-DE" sz="1200" b="1">
                <a:solidFill>
                  <a:schemeClr val="accent3"/>
                </a:solidFill>
              </a:rPr>
              <a:t>Präferierter NVP</a:t>
            </a:r>
          </a:p>
        </p:txBody>
      </p:sp>
      <p:grpSp>
        <p:nvGrpSpPr>
          <p:cNvPr id="122" name="Gruppieren 121">
            <a:extLst>
              <a:ext uri="{FF2B5EF4-FFF2-40B4-BE49-F238E27FC236}">
                <a16:creationId xmlns:a16="http://schemas.microsoft.com/office/drawing/2014/main" id="{F73BBBBA-4329-DDE7-2C59-CF35C6EA93AE}"/>
              </a:ext>
            </a:extLst>
          </p:cNvPr>
          <p:cNvGrpSpPr/>
          <p:nvPr/>
        </p:nvGrpSpPr>
        <p:grpSpPr>
          <a:xfrm>
            <a:off x="5221552" y="2282912"/>
            <a:ext cx="9870540" cy="646331"/>
            <a:chOff x="5221552" y="1883205"/>
            <a:chExt cx="9870540" cy="646331"/>
          </a:xfrm>
        </p:grpSpPr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390E75CB-AFED-53FB-3FAA-B190D0142ADA}"/>
                </a:ext>
              </a:extLst>
            </p:cNvPr>
            <p:cNvSpPr txBox="1"/>
            <p:nvPr/>
          </p:nvSpPr>
          <p:spPr>
            <a:xfrm>
              <a:off x="5731513" y="2041626"/>
              <a:ext cx="6262686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de-DE" sz="1200" b="1">
                  <a:solidFill>
                    <a:schemeClr val="accent2"/>
                  </a:solidFill>
                </a:rPr>
                <a:t>Präferierter NVP =  </a:t>
              </a:r>
              <a:r>
                <a:rPr lang="de-DE" sz="1200" b="1" err="1">
                  <a:solidFill>
                    <a:schemeClr val="accent2"/>
                  </a:solidFill>
                </a:rPr>
                <a:t>ggNVP</a:t>
              </a:r>
              <a:br>
                <a:rPr lang="de-DE" sz="1200" b="1">
                  <a:solidFill>
                    <a:schemeClr val="accent2"/>
                  </a:solidFill>
                </a:rPr>
              </a:br>
              <a:r>
                <a:rPr lang="de-DE" sz="1200" b="0">
                  <a:solidFill>
                    <a:schemeClr val="accent2"/>
                  </a:solidFill>
                </a:rPr>
                <a:t>(Sofort verfügbar)</a:t>
              </a: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16498C14-25DB-0F4A-CBA0-807900AA2097}"/>
                </a:ext>
              </a:extLst>
            </p:cNvPr>
            <p:cNvSpPr txBox="1"/>
            <p:nvPr/>
          </p:nvSpPr>
          <p:spPr>
            <a:xfrm>
              <a:off x="8526645" y="1883205"/>
              <a:ext cx="6565447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u="sng">
                  <a:solidFill>
                    <a:schemeClr val="accent2"/>
                  </a:solidFill>
                </a:rPr>
                <a:t>Kein FCA – Regulärer Netzanschlussvertag</a:t>
              </a:r>
              <a:br>
                <a:rPr lang="de-DE" sz="1200">
                  <a:solidFill>
                    <a:schemeClr val="accent2"/>
                  </a:solidFill>
                </a:rPr>
              </a:br>
              <a:r>
                <a:rPr lang="de-DE" sz="1200">
                  <a:solidFill>
                    <a:schemeClr val="accent2"/>
                  </a:solidFill>
                </a:rPr>
                <a:t>beantragte Leistung wird ohne FCA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>
                  <a:solidFill>
                    <a:schemeClr val="accent2"/>
                  </a:solidFill>
                </a:rPr>
                <a:t>(uneingeschränkt) </a:t>
              </a:r>
              <a:r>
                <a:rPr lang="de-DE" sz="1200" err="1">
                  <a:solidFill>
                    <a:schemeClr val="accent2"/>
                  </a:solidFill>
                </a:rPr>
                <a:t>bezuschlagt</a:t>
              </a:r>
              <a:endParaRPr lang="de-DE" sz="1200">
                <a:solidFill>
                  <a:schemeClr val="accent2"/>
                </a:solidFill>
              </a:endParaRPr>
            </a:p>
          </p:txBody>
        </p:sp>
        <p:sp>
          <p:nvSpPr>
            <p:cNvPr id="96" name="Pfeil: nach rechts 95">
              <a:extLst>
                <a:ext uri="{FF2B5EF4-FFF2-40B4-BE49-F238E27FC236}">
                  <a16:creationId xmlns:a16="http://schemas.microsoft.com/office/drawing/2014/main" id="{9653421D-C35B-CDD9-9178-6A762890696C}"/>
                </a:ext>
              </a:extLst>
            </p:cNvPr>
            <p:cNvSpPr/>
            <p:nvPr/>
          </p:nvSpPr>
          <p:spPr>
            <a:xfrm>
              <a:off x="8110973" y="2191204"/>
              <a:ext cx="323089" cy="162509"/>
            </a:xfrm>
            <a:prstGeom prst="right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 defTabSz="540000">
                <a:lnSpc>
                  <a:spcPct val="110000"/>
                </a:lnSpc>
                <a:spcAft>
                  <a:spcPts val="400"/>
                </a:spcAft>
              </a:pPr>
              <a:endParaRPr lang="de-DE" sz="1600" err="1"/>
            </a:p>
          </p:txBody>
        </p:sp>
        <p:sp>
          <p:nvSpPr>
            <p:cNvPr id="97" name="Ellipse 96">
              <a:extLst>
                <a:ext uri="{FF2B5EF4-FFF2-40B4-BE49-F238E27FC236}">
                  <a16:creationId xmlns:a16="http://schemas.microsoft.com/office/drawing/2014/main" id="{1D70255A-5303-7761-825A-90A49A72B2B7}"/>
                </a:ext>
              </a:extLst>
            </p:cNvPr>
            <p:cNvSpPr/>
            <p:nvPr/>
          </p:nvSpPr>
          <p:spPr>
            <a:xfrm>
              <a:off x="5221552" y="2070858"/>
              <a:ext cx="403200" cy="4032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 defTabSz="540000">
                <a:lnSpc>
                  <a:spcPct val="110000"/>
                </a:lnSpc>
                <a:spcAft>
                  <a:spcPts val="400"/>
                </a:spcAft>
              </a:pPr>
              <a:r>
                <a:rPr lang="de-DE" sz="1600" b="1"/>
                <a:t>1</a:t>
              </a:r>
            </a:p>
          </p:txBody>
        </p:sp>
      </p:grpSp>
      <p:grpSp>
        <p:nvGrpSpPr>
          <p:cNvPr id="120" name="Gruppieren 119">
            <a:extLst>
              <a:ext uri="{FF2B5EF4-FFF2-40B4-BE49-F238E27FC236}">
                <a16:creationId xmlns:a16="http://schemas.microsoft.com/office/drawing/2014/main" id="{3E752B20-529B-3917-85F7-504C96A32FBD}"/>
              </a:ext>
            </a:extLst>
          </p:cNvPr>
          <p:cNvGrpSpPr/>
          <p:nvPr/>
        </p:nvGrpSpPr>
        <p:grpSpPr>
          <a:xfrm>
            <a:off x="5221552" y="4660874"/>
            <a:ext cx="6617136" cy="1354217"/>
            <a:chOff x="5221552" y="3784350"/>
            <a:chExt cx="6617136" cy="1354217"/>
          </a:xfrm>
        </p:grpSpPr>
        <p:grpSp>
          <p:nvGrpSpPr>
            <p:cNvPr id="108" name="Gruppieren 107">
              <a:extLst>
                <a:ext uri="{FF2B5EF4-FFF2-40B4-BE49-F238E27FC236}">
                  <a16:creationId xmlns:a16="http://schemas.microsoft.com/office/drawing/2014/main" id="{8578ED12-532E-DD0D-F222-E082034A9699}"/>
                </a:ext>
              </a:extLst>
            </p:cNvPr>
            <p:cNvGrpSpPr/>
            <p:nvPr/>
          </p:nvGrpSpPr>
          <p:grpSpPr>
            <a:xfrm>
              <a:off x="5221552" y="3784350"/>
              <a:ext cx="6617136" cy="1354217"/>
              <a:chOff x="5221552" y="3784350"/>
              <a:chExt cx="6617136" cy="1354217"/>
            </a:xfrm>
          </p:grpSpPr>
          <p:sp>
            <p:nvSpPr>
              <p:cNvPr id="90" name="Textfeld 89">
                <a:extLst>
                  <a:ext uri="{FF2B5EF4-FFF2-40B4-BE49-F238E27FC236}">
                    <a16:creationId xmlns:a16="http://schemas.microsoft.com/office/drawing/2014/main" id="{90D00D3E-8CFB-0718-EC19-AC553F8FDCE2}"/>
                  </a:ext>
                </a:extLst>
              </p:cNvPr>
              <p:cNvSpPr txBox="1"/>
              <p:nvPr/>
            </p:nvSpPr>
            <p:spPr>
              <a:xfrm>
                <a:off x="5731513" y="4138293"/>
                <a:ext cx="2541005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de-DE" sz="1200" b="1">
                    <a:solidFill>
                      <a:schemeClr val="accent4"/>
                    </a:solidFill>
                  </a:rPr>
                  <a:t>Leistungserweiterung </a:t>
                </a:r>
                <a:r>
                  <a:rPr lang="de-DE" sz="1200">
                    <a:solidFill>
                      <a:schemeClr val="accent4"/>
                    </a:solidFill>
                  </a:rPr>
                  <a:t>generell erst </a:t>
                </a:r>
                <a:r>
                  <a:rPr lang="de-DE" sz="1200" b="1">
                    <a:solidFill>
                      <a:schemeClr val="accent4"/>
                    </a:solidFill>
                  </a:rPr>
                  <a:t>nach Netzausbau  </a:t>
                </a:r>
                <a:r>
                  <a:rPr lang="de-DE" sz="1200">
                    <a:solidFill>
                      <a:schemeClr val="accent4"/>
                    </a:solidFill>
                  </a:rPr>
                  <a:t>(UW B) </a:t>
                </a:r>
                <a:r>
                  <a:rPr lang="de-DE" sz="1200" b="1">
                    <a:solidFill>
                      <a:schemeClr val="accent4"/>
                    </a:solidFill>
                  </a:rPr>
                  <a:t>möglich</a:t>
                </a:r>
              </a:p>
              <a:p>
                <a:r>
                  <a:rPr lang="de-DE" sz="1200" b="1">
                    <a:solidFill>
                      <a:schemeClr val="accent4"/>
                    </a:solidFill>
                  </a:rPr>
                  <a:t>(UW B oder präferierter NVP)</a:t>
                </a:r>
                <a:endParaRPr lang="de-DE" sz="1200">
                  <a:solidFill>
                    <a:schemeClr val="accent4"/>
                  </a:solidFill>
                </a:endParaRPr>
              </a:p>
            </p:txBody>
          </p:sp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150AF890-63E1-25A9-434F-3E5015444152}"/>
                  </a:ext>
                </a:extLst>
              </p:cNvPr>
              <p:cNvSpPr txBox="1"/>
              <p:nvPr/>
            </p:nvSpPr>
            <p:spPr>
              <a:xfrm>
                <a:off x="8526646" y="3784350"/>
                <a:ext cx="3312042" cy="135421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fontAlgn="t">
                  <a:spcAft>
                    <a:spcPts val="400"/>
                  </a:spcAft>
                </a:pPr>
                <a:r>
                  <a:rPr lang="de-DE" sz="1200" b="1">
                    <a:solidFill>
                      <a:srgbClr val="FFAA44"/>
                    </a:solidFill>
                  </a:rPr>
                  <a:t>Biogas-Betreiber hat Wahlmöglichkeit</a:t>
                </a:r>
                <a:endParaRPr lang="de-DE" sz="1200" b="1">
                  <a:latin typeface="Arial" panose="020B0604020202020204" pitchFamily="34" charset="0"/>
                </a:endParaRPr>
              </a:p>
              <a:p>
                <a:pPr fontAlgn="t">
                  <a:spcAft>
                    <a:spcPts val="400"/>
                  </a:spcAft>
                </a:pPr>
                <a:r>
                  <a:rPr lang="de-DE" sz="1200">
                    <a:solidFill>
                      <a:srgbClr val="FFAA44"/>
                    </a:solidFill>
                  </a:rPr>
                  <a:t>Anschluss je nach Situation am </a:t>
                </a:r>
              </a:p>
              <a:p>
                <a:pPr marL="171450" indent="-171450" fontAlgn="t">
                  <a:spcAft>
                    <a:spcPts val="400"/>
                  </a:spcAft>
                  <a:buFont typeface="Arial" panose="020B0604020202020204" pitchFamily="34" charset="0"/>
                  <a:buChar char="•"/>
                </a:pPr>
                <a:r>
                  <a:rPr lang="de-DE" sz="1200" b="1" u="sng">
                    <a:solidFill>
                      <a:srgbClr val="FFAA44"/>
                    </a:solidFill>
                  </a:rPr>
                  <a:t>präferiertem NVP oder am UW B ohne FCA erst nach Netzausbau</a:t>
                </a:r>
                <a:endParaRPr lang="de-DE" sz="1200">
                  <a:latin typeface="Arial" panose="020B0604020202020204" pitchFamily="34" charset="0"/>
                </a:endParaRPr>
              </a:p>
              <a:p>
                <a:pPr marL="171450" indent="-171450" fontAlgn="t">
                  <a:spcAft>
                    <a:spcPts val="400"/>
                  </a:spcAft>
                  <a:buFont typeface="Arial" panose="020B0604020202020204" pitchFamily="34" charset="0"/>
                  <a:buChar char="•"/>
                </a:pPr>
                <a:r>
                  <a:rPr lang="de-DE" sz="1200" b="1" u="sng">
                    <a:solidFill>
                      <a:srgbClr val="FFAA44"/>
                    </a:solidFill>
                  </a:rPr>
                  <a:t>Anschluss an </a:t>
                </a:r>
                <a:r>
                  <a:rPr lang="de-DE" sz="1200" b="1" u="sng" err="1">
                    <a:solidFill>
                      <a:srgbClr val="FFAA44"/>
                    </a:solidFill>
                  </a:rPr>
                  <a:t>präfNVP</a:t>
                </a:r>
                <a:r>
                  <a:rPr lang="de-DE" sz="1200" b="1" u="sng">
                    <a:solidFill>
                      <a:srgbClr val="FFAA44"/>
                    </a:solidFill>
                  </a:rPr>
                  <a:t> heute per temporäres FCA</a:t>
                </a:r>
                <a:endParaRPr lang="de-DE" sz="1200">
                  <a:latin typeface="Arial" panose="020B0604020202020204" pitchFamily="34" charset="0"/>
                </a:endParaRPr>
              </a:p>
            </p:txBody>
          </p:sp>
          <p:sp>
            <p:nvSpPr>
              <p:cNvPr id="104" name="Ellipse 103">
                <a:extLst>
                  <a:ext uri="{FF2B5EF4-FFF2-40B4-BE49-F238E27FC236}">
                    <a16:creationId xmlns:a16="http://schemas.microsoft.com/office/drawing/2014/main" id="{9F8FACE6-8479-968B-7F02-589227CD3CD5}"/>
                  </a:ext>
                </a:extLst>
              </p:cNvPr>
              <p:cNvSpPr/>
              <p:nvPr/>
            </p:nvSpPr>
            <p:spPr>
              <a:xfrm>
                <a:off x="5221552" y="4259859"/>
                <a:ext cx="403200" cy="403200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 defTabSz="540000">
                  <a:lnSpc>
                    <a:spcPct val="110000"/>
                  </a:lnSpc>
                  <a:spcAft>
                    <a:spcPts val="400"/>
                  </a:spcAft>
                </a:pPr>
                <a:r>
                  <a:rPr lang="de-DE" sz="1600" b="1"/>
                  <a:t>3</a:t>
                </a:r>
              </a:p>
            </p:txBody>
          </p:sp>
          <p:sp>
            <p:nvSpPr>
              <p:cNvPr id="107" name="Pfeil: nach rechts 106">
                <a:extLst>
                  <a:ext uri="{FF2B5EF4-FFF2-40B4-BE49-F238E27FC236}">
                    <a16:creationId xmlns:a16="http://schemas.microsoft.com/office/drawing/2014/main" id="{086250A7-2F8D-C0DC-3CAC-B2AA3A60E54B}"/>
                  </a:ext>
                </a:extLst>
              </p:cNvPr>
              <p:cNvSpPr/>
              <p:nvPr/>
            </p:nvSpPr>
            <p:spPr>
              <a:xfrm>
                <a:off x="8110973" y="4380204"/>
                <a:ext cx="323089" cy="162509"/>
              </a:xfrm>
              <a:prstGeom prst="rightArrow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 defTabSz="540000">
                  <a:lnSpc>
                    <a:spcPct val="110000"/>
                  </a:lnSpc>
                  <a:spcAft>
                    <a:spcPts val="400"/>
                  </a:spcAft>
                </a:pPr>
                <a:endParaRPr lang="de-DE" sz="1600" err="1"/>
              </a:p>
            </p:txBody>
          </p:sp>
        </p:grpSp>
        <p:sp>
          <p:nvSpPr>
            <p:cNvPr id="116" name="Ellipse 115">
              <a:extLst>
                <a:ext uri="{FF2B5EF4-FFF2-40B4-BE49-F238E27FC236}">
                  <a16:creationId xmlns:a16="http://schemas.microsoft.com/office/drawing/2014/main" id="{1E1B2EEF-30F9-BE29-B9E0-494FF24B9F89}"/>
                </a:ext>
              </a:extLst>
            </p:cNvPr>
            <p:cNvSpPr/>
            <p:nvPr/>
          </p:nvSpPr>
          <p:spPr>
            <a:xfrm>
              <a:off x="8565054" y="4362713"/>
              <a:ext cx="180000" cy="180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 defTabSz="540000">
                <a:lnSpc>
                  <a:spcPct val="110000"/>
                </a:lnSpc>
                <a:spcAft>
                  <a:spcPts val="400"/>
                </a:spcAft>
              </a:pPr>
              <a:r>
                <a:rPr lang="de-DE" sz="800"/>
                <a:t>1</a:t>
              </a:r>
              <a:endParaRPr lang="de-DE" sz="1600"/>
            </a:p>
          </p:txBody>
        </p:sp>
        <p:sp>
          <p:nvSpPr>
            <p:cNvPr id="117" name="Ellipse 116">
              <a:extLst>
                <a:ext uri="{FF2B5EF4-FFF2-40B4-BE49-F238E27FC236}">
                  <a16:creationId xmlns:a16="http://schemas.microsoft.com/office/drawing/2014/main" id="{CBCC2094-D9E7-0DF0-2B8A-C5E8DC7964A9}"/>
                </a:ext>
              </a:extLst>
            </p:cNvPr>
            <p:cNvSpPr/>
            <p:nvPr/>
          </p:nvSpPr>
          <p:spPr>
            <a:xfrm>
              <a:off x="8565054" y="4732359"/>
              <a:ext cx="180000" cy="180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 defTabSz="540000">
                <a:lnSpc>
                  <a:spcPct val="110000"/>
                </a:lnSpc>
                <a:spcAft>
                  <a:spcPts val="400"/>
                </a:spcAft>
              </a:pPr>
              <a:r>
                <a:rPr lang="de-DE" sz="800"/>
                <a:t>2</a:t>
              </a:r>
              <a:endParaRPr lang="de-DE" sz="1600"/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B212E298-94AF-B1C3-5D1E-37B4185D1C6E}"/>
              </a:ext>
            </a:extLst>
          </p:cNvPr>
          <p:cNvGrpSpPr/>
          <p:nvPr/>
        </p:nvGrpSpPr>
        <p:grpSpPr>
          <a:xfrm>
            <a:off x="5221552" y="3295015"/>
            <a:ext cx="9870540" cy="1220847"/>
            <a:chOff x="5221552" y="2513809"/>
            <a:chExt cx="9870540" cy="1220847"/>
          </a:xfrm>
        </p:grpSpPr>
        <p:sp>
          <p:nvSpPr>
            <p:cNvPr id="62" name="Textfeld 61">
              <a:extLst>
                <a:ext uri="{FF2B5EF4-FFF2-40B4-BE49-F238E27FC236}">
                  <a16:creationId xmlns:a16="http://schemas.microsoft.com/office/drawing/2014/main" id="{D12490AA-FA4B-E633-9C3E-AC7F039E160F}"/>
                </a:ext>
              </a:extLst>
            </p:cNvPr>
            <p:cNvSpPr txBox="1"/>
            <p:nvPr/>
          </p:nvSpPr>
          <p:spPr>
            <a:xfrm>
              <a:off x="5731513" y="2801066"/>
              <a:ext cx="2217916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e-DE" sz="1200" b="1">
                  <a:solidFill>
                    <a:schemeClr val="accent1"/>
                  </a:solidFill>
                </a:rPr>
                <a:t>Präferierter NVP ≠  </a:t>
              </a:r>
              <a:r>
                <a:rPr lang="de-DE" sz="1200" b="1" err="1">
                  <a:solidFill>
                    <a:schemeClr val="accent1"/>
                  </a:solidFill>
                </a:rPr>
                <a:t>ggNVP</a:t>
              </a:r>
              <a:endParaRPr lang="de-DE" sz="1200" b="1">
                <a:solidFill>
                  <a:schemeClr val="accent1"/>
                </a:solidFill>
              </a:endParaRPr>
            </a:p>
            <a:p>
              <a:r>
                <a:rPr lang="de-DE" sz="1200">
                  <a:solidFill>
                    <a:schemeClr val="accent1"/>
                  </a:solidFill>
                </a:rPr>
                <a:t>(dauerhaft nicht an Präferiertem NVP uneingeschränkt verfügbar)</a:t>
              </a:r>
            </a:p>
          </p:txBody>
        </p:sp>
        <p:sp>
          <p:nvSpPr>
            <p:cNvPr id="69" name="Textfeld 68">
              <a:extLst>
                <a:ext uri="{FF2B5EF4-FFF2-40B4-BE49-F238E27FC236}">
                  <a16:creationId xmlns:a16="http://schemas.microsoft.com/office/drawing/2014/main" id="{8A3FBB3B-59B9-5E6B-F383-3130A310CA16}"/>
                </a:ext>
              </a:extLst>
            </p:cNvPr>
            <p:cNvSpPr txBox="1"/>
            <p:nvPr/>
          </p:nvSpPr>
          <p:spPr>
            <a:xfrm>
              <a:off x="8526645" y="2513809"/>
              <a:ext cx="6565447" cy="122084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algn="l" rtl="0" eaLnBrk="1" fontAlgn="t" latinLnBrk="0" hangingPunct="1">
                <a:spcAft>
                  <a:spcPts val="400"/>
                </a:spcAft>
                <a:buNone/>
              </a:pPr>
              <a:r>
                <a:rPr lang="de-DE" sz="1200" b="1" i="0" u="none" strike="noStrike" kern="1200">
                  <a:solidFill>
                    <a:srgbClr val="0077CC"/>
                  </a:solidFill>
                  <a:effectLst/>
                  <a:latin typeface="Manrope"/>
                </a:rPr>
                <a:t>Biogas-Betreiber hat Wahlmöglichkeit</a:t>
              </a:r>
              <a:endParaRPr lang="de-DE" sz="1200">
                <a:latin typeface="Arial" panose="020B0604020202020204" pitchFamily="34" charset="0"/>
              </a:endParaRPr>
            </a:p>
            <a:p>
              <a:pPr marL="171450" indent="-171450" fontAlgn="t"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de-DE" sz="1200" b="1" i="0" u="sng" strike="noStrike" kern="1200">
                  <a:solidFill>
                    <a:srgbClr val="0077CC"/>
                  </a:solidFill>
                  <a:effectLst/>
                  <a:latin typeface="Manrope"/>
                </a:rPr>
                <a:t>Anschluss ohne FCA  </a:t>
              </a:r>
              <a:r>
                <a:rPr lang="de-DE" sz="1200" b="0" i="0" u="none" strike="noStrike" kern="1200">
                  <a:solidFill>
                    <a:srgbClr val="0077CC"/>
                  </a:solidFill>
                  <a:effectLst/>
                  <a:latin typeface="Manrope"/>
                </a:rPr>
                <a:t>an </a:t>
              </a:r>
              <a:r>
                <a:rPr lang="de-DE" sz="1200" b="0" i="0" u="none" strike="noStrike" kern="1200" err="1">
                  <a:solidFill>
                    <a:srgbClr val="0077CC"/>
                  </a:solidFill>
                  <a:effectLst/>
                  <a:latin typeface="Manrope"/>
                </a:rPr>
                <a:t>ggNVP</a:t>
              </a:r>
              <a:r>
                <a:rPr lang="de-DE" sz="1200" b="0" i="0" u="none" strike="noStrike" kern="1200">
                  <a:solidFill>
                    <a:srgbClr val="0077CC"/>
                  </a:solidFill>
                  <a:effectLst/>
                  <a:latin typeface="Manrope"/>
                </a:rPr>
                <a:t> (Kabelverlegung </a:t>
              </a:r>
            </a:p>
            <a:p>
              <a:pPr marL="0" algn="l" rtl="0" eaLnBrk="1" fontAlgn="t" latinLnBrk="0" hangingPunct="1">
                <a:spcAft>
                  <a:spcPts val="400"/>
                </a:spcAft>
                <a:buNone/>
              </a:pPr>
              <a:r>
                <a:rPr lang="de-DE" sz="1200" b="0" i="0" u="none" strike="noStrike" kern="1200">
                  <a:solidFill>
                    <a:srgbClr val="0077CC"/>
                  </a:solidFill>
                  <a:effectLst/>
                  <a:latin typeface="Manrope"/>
                </a:rPr>
                <a:t>auf eigene Kosten)</a:t>
              </a:r>
              <a:endParaRPr lang="de-DE" sz="1200">
                <a:latin typeface="Arial" panose="020B0604020202020204" pitchFamily="34" charset="0"/>
              </a:endParaRPr>
            </a:p>
            <a:p>
              <a:pPr marL="171450" indent="-171450" algn="l" rtl="0" eaLnBrk="1" fontAlgn="t" latinLnBrk="0" hangingPunct="1"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de-DE" sz="1200" b="1" i="0" u="sng" strike="noStrike" kern="1200">
                  <a:solidFill>
                    <a:srgbClr val="0077CC"/>
                  </a:solidFill>
                  <a:effectLst/>
                  <a:latin typeface="Manrope"/>
                </a:rPr>
                <a:t>Anschluss mit dauerhaften FCA </a:t>
              </a:r>
              <a:r>
                <a:rPr lang="de-DE" sz="1200" b="0" i="0" u="none" strike="noStrike" kern="1200">
                  <a:solidFill>
                    <a:srgbClr val="0077CC"/>
                  </a:solidFill>
                  <a:effectLst/>
                  <a:latin typeface="Manrope"/>
                </a:rPr>
                <a:t>am </a:t>
              </a:r>
              <a:r>
                <a:rPr lang="de-DE" sz="1200" b="0" i="0" u="none" strike="noStrike" kern="1200" err="1">
                  <a:solidFill>
                    <a:srgbClr val="0077CC"/>
                  </a:solidFill>
                  <a:effectLst/>
                  <a:latin typeface="Manrope"/>
                </a:rPr>
                <a:t>präfNVP</a:t>
              </a:r>
              <a:endParaRPr lang="de-DE" sz="1200" b="0" i="0" u="none" strike="noStrike" kern="1200">
                <a:solidFill>
                  <a:srgbClr val="0077CC"/>
                </a:solidFill>
                <a:effectLst/>
                <a:latin typeface="Manrope"/>
              </a:endParaRPr>
            </a:p>
            <a:p>
              <a:pPr algn="l" rtl="0" eaLnBrk="1" fontAlgn="t" latinLnBrk="0" hangingPunct="1">
                <a:spcAft>
                  <a:spcPts val="400"/>
                </a:spcAft>
              </a:pPr>
              <a:r>
                <a:rPr lang="de-DE" sz="1200">
                  <a:solidFill>
                    <a:srgbClr val="0077CC"/>
                  </a:solidFill>
                  <a:latin typeface="Manrope"/>
                </a:rPr>
                <a:t>(nicht immer technisch möglich!)</a:t>
              </a:r>
              <a:endParaRPr lang="de-DE" sz="1200">
                <a:solidFill>
                  <a:schemeClr val="accent2"/>
                </a:solidFill>
              </a:endParaRPr>
            </a:p>
          </p:txBody>
        </p:sp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3D1DB48C-2D75-4361-7D2C-66D72D4E0293}"/>
                </a:ext>
              </a:extLst>
            </p:cNvPr>
            <p:cNvSpPr/>
            <p:nvPr/>
          </p:nvSpPr>
          <p:spPr>
            <a:xfrm>
              <a:off x="5221552" y="2922632"/>
              <a:ext cx="403200" cy="4032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 defTabSz="540000">
                <a:lnSpc>
                  <a:spcPct val="110000"/>
                </a:lnSpc>
                <a:spcAft>
                  <a:spcPts val="400"/>
                </a:spcAft>
              </a:pPr>
              <a:r>
                <a:rPr lang="de-DE" sz="1600" b="1"/>
                <a:t>2</a:t>
              </a:r>
            </a:p>
          </p:txBody>
        </p:sp>
        <p:sp>
          <p:nvSpPr>
            <p:cNvPr id="106" name="Pfeil: nach rechts 105">
              <a:extLst>
                <a:ext uri="{FF2B5EF4-FFF2-40B4-BE49-F238E27FC236}">
                  <a16:creationId xmlns:a16="http://schemas.microsoft.com/office/drawing/2014/main" id="{EA8694A1-4B6A-FB0D-2C5B-69AF94C4052C}"/>
                </a:ext>
              </a:extLst>
            </p:cNvPr>
            <p:cNvSpPr/>
            <p:nvPr/>
          </p:nvSpPr>
          <p:spPr>
            <a:xfrm>
              <a:off x="8110973" y="3042977"/>
              <a:ext cx="323089" cy="162509"/>
            </a:xfrm>
            <a:prstGeom prst="right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 defTabSz="540000">
                <a:lnSpc>
                  <a:spcPct val="110000"/>
                </a:lnSpc>
                <a:spcAft>
                  <a:spcPts val="400"/>
                </a:spcAft>
              </a:pPr>
              <a:endParaRPr lang="de-DE" sz="1600" err="1"/>
            </a:p>
          </p:txBody>
        </p:sp>
        <p:sp>
          <p:nvSpPr>
            <p:cNvPr id="118" name="Ellipse 117">
              <a:extLst>
                <a:ext uri="{FF2B5EF4-FFF2-40B4-BE49-F238E27FC236}">
                  <a16:creationId xmlns:a16="http://schemas.microsoft.com/office/drawing/2014/main" id="{044FE781-952D-3D1F-FD25-E818092E9333}"/>
                </a:ext>
              </a:extLst>
            </p:cNvPr>
            <p:cNvSpPr/>
            <p:nvPr/>
          </p:nvSpPr>
          <p:spPr>
            <a:xfrm>
              <a:off x="8565054" y="3287635"/>
              <a:ext cx="180000" cy="18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 defTabSz="540000">
                <a:lnSpc>
                  <a:spcPct val="110000"/>
                </a:lnSpc>
                <a:spcAft>
                  <a:spcPts val="400"/>
                </a:spcAft>
              </a:pPr>
              <a:r>
                <a:rPr lang="de-DE" sz="800"/>
                <a:t>2</a:t>
              </a:r>
            </a:p>
          </p:txBody>
        </p:sp>
        <p:sp>
          <p:nvSpPr>
            <p:cNvPr id="119" name="Ellipse 118">
              <a:extLst>
                <a:ext uri="{FF2B5EF4-FFF2-40B4-BE49-F238E27FC236}">
                  <a16:creationId xmlns:a16="http://schemas.microsoft.com/office/drawing/2014/main" id="{34087905-B13E-0D59-2EC8-4443DE3DA289}"/>
                </a:ext>
              </a:extLst>
            </p:cNvPr>
            <p:cNvSpPr/>
            <p:nvPr/>
          </p:nvSpPr>
          <p:spPr>
            <a:xfrm>
              <a:off x="8565054" y="2812871"/>
              <a:ext cx="180000" cy="18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 defTabSz="540000">
                <a:lnSpc>
                  <a:spcPct val="110000"/>
                </a:lnSpc>
                <a:spcAft>
                  <a:spcPts val="400"/>
                </a:spcAft>
              </a:pPr>
              <a:r>
                <a:rPr lang="de-DE" sz="800"/>
                <a:t>1</a:t>
              </a:r>
              <a:endParaRPr lang="de-DE" sz="1600"/>
            </a:p>
          </p:txBody>
        </p:sp>
      </p:grpSp>
    </p:spTree>
    <p:extLst>
      <p:ext uri="{BB962C8B-B14F-4D97-AF65-F5344CB8AC3E}">
        <p14:creationId xmlns:p14="http://schemas.microsoft.com/office/powerpoint/2010/main" val="27549430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44F28A-4722-A29C-CD29-DF968E9BA1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Slide Number Placeholder 3">
            <a:extLst>
              <a:ext uri="{FF2B5EF4-FFF2-40B4-BE49-F238E27FC236}">
                <a16:creationId xmlns:a16="http://schemas.microsoft.com/office/drawing/2014/main" id="{1915AB79-E6C8-F0EE-BD69-4D1A12832477}"/>
              </a:ext>
            </a:extLst>
          </p:cNvPr>
          <p:cNvSpPr txBox="1">
            <a:spLocks/>
          </p:cNvSpPr>
          <p:nvPr/>
        </p:nvSpPr>
        <p:spPr>
          <a:xfrm>
            <a:off x="11351999" y="6706153"/>
            <a:ext cx="360001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defPPr>
              <a:defRPr lang="de-DE"/>
            </a:defPPr>
            <a:lvl1pPr algn="r">
              <a:defRPr sz="900" b="1"/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1FFFE70-FC19-4A94-9D10-0B3C8E890CB2}" type="slidenum">
              <a:rPr lang="de-DE">
                <a:solidFill>
                  <a:srgbClr val="1B4379"/>
                </a:solidFill>
              </a:rPr>
              <a:pPr/>
              <a:t>4</a:t>
            </a:fld>
            <a:endParaRPr lang="de-DE">
              <a:solidFill>
                <a:srgbClr val="1B4379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7B01E47-8E30-9909-37A8-C167E4DE30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en-GB" noProof="0" smtClean="0"/>
              <a:pPr/>
              <a:t>4</a:t>
            </a:fld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285474B-86FC-5D31-C439-719DFF7226BB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 b="1"/>
              <a:t>FCA Varianten</a:t>
            </a:r>
            <a:r>
              <a:rPr lang="de-DE"/>
              <a:t>: Zwei Lösungsansätze für unterschiedliche Netzsituationen</a:t>
            </a:r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724EC5E5-EC6E-735B-EE2D-8B7CC9DD03D8}"/>
              </a:ext>
            </a:extLst>
          </p:cNvPr>
          <p:cNvSpPr txBox="1"/>
          <p:nvPr/>
        </p:nvSpPr>
        <p:spPr>
          <a:xfrm>
            <a:off x="2273071" y="4408770"/>
            <a:ext cx="921777" cy="366424"/>
          </a:xfrm>
          <a:prstGeom prst="rect">
            <a:avLst/>
          </a:prstGeom>
          <a:noFill/>
        </p:spPr>
        <p:txBody>
          <a:bodyPr wrap="square" lIns="90000" tIns="90000" rIns="90000" bIns="90000" rtlCol="0">
            <a:spAutoFit/>
          </a:bodyPr>
          <a:lstStyle/>
          <a:p>
            <a:pPr>
              <a:spcBef>
                <a:spcPts val="600"/>
              </a:spcBef>
              <a:buClr>
                <a:schemeClr val="accent3"/>
              </a:buClr>
              <a:buSzPct val="110000"/>
            </a:pPr>
            <a:r>
              <a:rPr lang="en-GB" sz="1200" i="1"/>
              <a:t>T</a:t>
            </a:r>
          </a:p>
        </p:txBody>
      </p:sp>
      <p:sp>
        <p:nvSpPr>
          <p:cNvPr id="8" name="Inhaltsplatzhalter 5">
            <a:extLst>
              <a:ext uri="{FF2B5EF4-FFF2-40B4-BE49-F238E27FC236}">
                <a16:creationId xmlns:a16="http://schemas.microsoft.com/office/drawing/2014/main" id="{6EFD5A11-BA90-E166-099D-6694225FEF47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56285" y="2080786"/>
            <a:ext cx="5221555" cy="3796494"/>
          </a:xfrm>
          <a:prstGeom prst="rect">
            <a:avLst/>
          </a:prstGeom>
          <a:solidFill>
            <a:srgbClr val="F6F3F2"/>
          </a:solidFill>
          <a:ln>
            <a:noFill/>
          </a:ln>
        </p:spPr>
        <p:txBody>
          <a:bodyPr anchor="ctr"/>
          <a:lstStyle>
            <a:lvl1pPr marL="169200" indent="-169200" algn="l" defTabSz="4572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Pct val="11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Segoe UI"/>
                <a:ea typeface="+mn-ea"/>
                <a:cs typeface="Segoe UI"/>
              </a:defRPr>
            </a:lvl1pPr>
            <a:lvl2pPr marL="363538" indent="-182563" algn="l" defTabSz="4572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Pct val="110000"/>
              <a:buFont typeface="Wingdings" charset="2"/>
              <a:buChar char="§"/>
              <a:defRPr sz="1400" kern="1200">
                <a:solidFill>
                  <a:schemeClr val="tx1"/>
                </a:solidFill>
                <a:latin typeface="Segoe UI"/>
                <a:ea typeface="+mn-ea"/>
                <a:cs typeface="Segoe UI"/>
              </a:defRPr>
            </a:lvl2pPr>
            <a:lvl3pPr marL="534988" indent="-171450" algn="l" defTabSz="4572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Pct val="110000"/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Segoe UI"/>
                <a:ea typeface="+mn-ea"/>
                <a:cs typeface="Segoe UI"/>
              </a:defRPr>
            </a:lvl3pPr>
            <a:lvl4pPr marL="715963" indent="-1809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Pct val="110000"/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Segoe UI"/>
                <a:ea typeface="+mn-ea"/>
                <a:cs typeface="Segoe UI"/>
              </a:defRPr>
            </a:lvl4pPr>
            <a:lvl5pPr marL="898525" indent="-182563" algn="l" defTabSz="4572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Pct val="110000"/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Segoe UI"/>
                <a:ea typeface="+mn-ea"/>
                <a:cs typeface="Segoe UI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377">
              <a:buNone/>
            </a:pPr>
            <a:endParaRPr lang="de-DE" sz="1400" kern="0">
              <a:solidFill>
                <a:srgbClr val="1B4379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26D906BC-B025-CF0F-512E-417C23D5CCAB}"/>
              </a:ext>
            </a:extLst>
          </p:cNvPr>
          <p:cNvSpPr/>
          <p:nvPr/>
        </p:nvSpPr>
        <p:spPr>
          <a:xfrm>
            <a:off x="2076302" y="4300381"/>
            <a:ext cx="203878" cy="266735"/>
          </a:xfrm>
          <a:prstGeom prst="rect">
            <a:avLst/>
          </a:prstGeom>
          <a:solidFill>
            <a:srgbClr val="C4E5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de-DE" sz="1400"/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EF6AAB76-0569-0403-A88D-6ADC2BE79872}"/>
              </a:ext>
            </a:extLst>
          </p:cNvPr>
          <p:cNvSpPr/>
          <p:nvPr/>
        </p:nvSpPr>
        <p:spPr>
          <a:xfrm>
            <a:off x="1071456" y="4301310"/>
            <a:ext cx="319493" cy="266735"/>
          </a:xfrm>
          <a:prstGeom prst="rect">
            <a:avLst/>
          </a:prstGeom>
          <a:solidFill>
            <a:srgbClr val="C4E5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de-DE" sz="1400"/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7C27FAFF-59B4-1A23-8A8B-A32E59E99C9C}"/>
              </a:ext>
            </a:extLst>
          </p:cNvPr>
          <p:cNvCxnSpPr/>
          <p:nvPr/>
        </p:nvCxnSpPr>
        <p:spPr>
          <a:xfrm flipV="1">
            <a:off x="1390949" y="3754326"/>
            <a:ext cx="0" cy="820194"/>
          </a:xfrm>
          <a:prstGeom prst="line">
            <a:avLst/>
          </a:prstGeom>
          <a:ln w="9525">
            <a:solidFill>
              <a:schemeClr val="tx2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8F704DC0-A642-B0A2-953C-747925DAD7D3}"/>
              </a:ext>
            </a:extLst>
          </p:cNvPr>
          <p:cNvCxnSpPr/>
          <p:nvPr/>
        </p:nvCxnSpPr>
        <p:spPr>
          <a:xfrm flipV="1">
            <a:off x="2078640" y="3754326"/>
            <a:ext cx="0" cy="820194"/>
          </a:xfrm>
          <a:prstGeom prst="line">
            <a:avLst/>
          </a:prstGeom>
          <a:ln w="9525">
            <a:solidFill>
              <a:schemeClr val="tx2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B42037FC-5019-8DA6-7B97-02B2DAAF967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6286" y="1929669"/>
            <a:ext cx="5221555" cy="324498"/>
          </a:xfrm>
          <a:prstGeom prst="rect">
            <a:avLst/>
          </a:prstGeom>
          <a:solidFill>
            <a:schemeClr val="accent2"/>
          </a:solidFill>
        </p:spPr>
        <p:txBody>
          <a:bodyPr wrap="square" lIns="54000" tIns="54000" rIns="54000" bIns="54000" rtlCol="0" anchor="ctr">
            <a:spAutoFit/>
          </a:bodyPr>
          <a:lstStyle/>
          <a:p>
            <a:pPr algn="ctr">
              <a:spcBef>
                <a:spcPts val="600"/>
              </a:spcBef>
              <a:buClr>
                <a:schemeClr val="accent3"/>
              </a:buClr>
              <a:buSzPct val="110000"/>
            </a:pPr>
            <a:r>
              <a:rPr lang="de-DE" sz="1400" b="1">
                <a:solidFill>
                  <a:schemeClr val="bg1"/>
                </a:solidFill>
              </a:rPr>
              <a:t>Ansatz 1: Statisch für PV-Engpassgebiete </a:t>
            </a: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0F2FAF2A-A3E1-3586-D7FA-A28A87E0FF4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129132" y="2447258"/>
            <a:ext cx="483285" cy="483285"/>
          </a:xfrm>
          <a:prstGeom prst="rect">
            <a:avLst/>
          </a:prstGeom>
        </p:spPr>
      </p:pic>
      <p:sp>
        <p:nvSpPr>
          <p:cNvPr id="49" name="Textfeld 48">
            <a:extLst>
              <a:ext uri="{FF2B5EF4-FFF2-40B4-BE49-F238E27FC236}">
                <a16:creationId xmlns:a16="http://schemas.microsoft.com/office/drawing/2014/main" id="{F2187E16-384F-D4AF-35A3-2E6674007ACD}"/>
              </a:ext>
            </a:extLst>
          </p:cNvPr>
          <p:cNvSpPr txBox="1"/>
          <p:nvPr/>
        </p:nvSpPr>
        <p:spPr>
          <a:xfrm>
            <a:off x="828015" y="3343828"/>
            <a:ext cx="921777" cy="366424"/>
          </a:xfrm>
          <a:prstGeom prst="rect">
            <a:avLst/>
          </a:prstGeom>
          <a:noFill/>
        </p:spPr>
        <p:txBody>
          <a:bodyPr wrap="square" lIns="90000" tIns="90000" rIns="90000" bIns="90000" rtlCol="0">
            <a:spAutoFit/>
          </a:bodyPr>
          <a:lstStyle/>
          <a:p>
            <a:pPr>
              <a:spcBef>
                <a:spcPts val="600"/>
              </a:spcBef>
              <a:buClr>
                <a:schemeClr val="accent3"/>
              </a:buClr>
              <a:buSzPct val="110000"/>
            </a:pPr>
            <a:r>
              <a:rPr lang="en-GB" sz="1200" i="1"/>
              <a:t>P</a:t>
            </a:r>
            <a:r>
              <a:rPr lang="en-GB" sz="600" i="1"/>
              <a:t>Biogas</a:t>
            </a:r>
            <a:endParaRPr lang="en-GB" sz="1200" i="1"/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80F802A5-08CB-2282-5542-6B068DFEB77A}"/>
              </a:ext>
            </a:extLst>
          </p:cNvPr>
          <p:cNvCxnSpPr/>
          <p:nvPr/>
        </p:nvCxnSpPr>
        <p:spPr>
          <a:xfrm>
            <a:off x="1078368" y="3627061"/>
            <a:ext cx="0" cy="951952"/>
          </a:xfrm>
          <a:prstGeom prst="line">
            <a:avLst/>
          </a:prstGeom>
          <a:ln w="19050">
            <a:head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65E2793D-CA8B-1C90-69EE-A1D92D29FF52}"/>
              </a:ext>
            </a:extLst>
          </p:cNvPr>
          <p:cNvCxnSpPr>
            <a:cxnSpLocks/>
          </p:cNvCxnSpPr>
          <p:nvPr/>
        </p:nvCxnSpPr>
        <p:spPr>
          <a:xfrm>
            <a:off x="1078368" y="4579782"/>
            <a:ext cx="1264533" cy="0"/>
          </a:xfrm>
          <a:prstGeom prst="line">
            <a:avLst/>
          </a:prstGeom>
          <a:ln w="19050"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57B2C526-EFAC-6BFD-0732-626E04FF8FF0}"/>
              </a:ext>
            </a:extLst>
          </p:cNvPr>
          <p:cNvCxnSpPr>
            <a:cxnSpLocks/>
          </p:cNvCxnSpPr>
          <p:nvPr/>
        </p:nvCxnSpPr>
        <p:spPr>
          <a:xfrm>
            <a:off x="1078368" y="4294848"/>
            <a:ext cx="312581" cy="0"/>
          </a:xfrm>
          <a:prstGeom prst="line">
            <a:avLst/>
          </a:prstGeom>
          <a:ln w="19050">
            <a:solidFill>
              <a:schemeClr val="accent4">
                <a:lumMod val="10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A9251654-0397-2129-234A-54998CB27B7E}"/>
              </a:ext>
            </a:extLst>
          </p:cNvPr>
          <p:cNvCxnSpPr>
            <a:cxnSpLocks/>
          </p:cNvCxnSpPr>
          <p:nvPr/>
        </p:nvCxnSpPr>
        <p:spPr>
          <a:xfrm flipV="1">
            <a:off x="1390949" y="4301310"/>
            <a:ext cx="0" cy="284163"/>
          </a:xfrm>
          <a:prstGeom prst="line">
            <a:avLst/>
          </a:prstGeom>
          <a:ln w="19050">
            <a:solidFill>
              <a:schemeClr val="accent4">
                <a:lumMod val="10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E373C663-74BA-DC74-2813-AEE0C701B334}"/>
              </a:ext>
            </a:extLst>
          </p:cNvPr>
          <p:cNvCxnSpPr>
            <a:cxnSpLocks/>
          </p:cNvCxnSpPr>
          <p:nvPr/>
        </p:nvCxnSpPr>
        <p:spPr>
          <a:xfrm flipH="1">
            <a:off x="1390949" y="4574520"/>
            <a:ext cx="687691" cy="0"/>
          </a:xfrm>
          <a:prstGeom prst="line">
            <a:avLst/>
          </a:prstGeom>
          <a:ln w="19050">
            <a:solidFill>
              <a:schemeClr val="accent4">
                <a:lumMod val="10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4A01C00-5153-CC52-8FAA-2DA3970EDE59}"/>
              </a:ext>
            </a:extLst>
          </p:cNvPr>
          <p:cNvCxnSpPr>
            <a:cxnSpLocks/>
          </p:cNvCxnSpPr>
          <p:nvPr/>
        </p:nvCxnSpPr>
        <p:spPr>
          <a:xfrm flipV="1">
            <a:off x="2078640" y="4296545"/>
            <a:ext cx="0" cy="284163"/>
          </a:xfrm>
          <a:prstGeom prst="line">
            <a:avLst/>
          </a:prstGeom>
          <a:ln w="19050">
            <a:solidFill>
              <a:schemeClr val="accent4">
                <a:lumMod val="10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101EB66A-5EC3-2310-F6FC-A5EBB543AFB6}"/>
              </a:ext>
            </a:extLst>
          </p:cNvPr>
          <p:cNvCxnSpPr>
            <a:cxnSpLocks/>
          </p:cNvCxnSpPr>
          <p:nvPr/>
        </p:nvCxnSpPr>
        <p:spPr>
          <a:xfrm>
            <a:off x="2078640" y="4294848"/>
            <a:ext cx="203877" cy="0"/>
          </a:xfrm>
          <a:prstGeom prst="line">
            <a:avLst/>
          </a:prstGeom>
          <a:ln w="19050">
            <a:solidFill>
              <a:schemeClr val="accent4">
                <a:lumMod val="10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Textfeld 44">
            <a:extLst>
              <a:ext uri="{FF2B5EF4-FFF2-40B4-BE49-F238E27FC236}">
                <a16:creationId xmlns:a16="http://schemas.microsoft.com/office/drawing/2014/main" id="{54DF0FC6-B0CD-0724-88B4-C43D8D0AEE17}"/>
              </a:ext>
            </a:extLst>
          </p:cNvPr>
          <p:cNvSpPr txBox="1"/>
          <p:nvPr/>
        </p:nvSpPr>
        <p:spPr>
          <a:xfrm>
            <a:off x="2164288" y="4192275"/>
            <a:ext cx="43841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800" b="1" kern="0"/>
              <a:t>P</a:t>
            </a:r>
            <a:r>
              <a:rPr lang="de-DE" sz="800" b="1" kern="0" baseline="-25000"/>
              <a:t>NAP</a:t>
            </a:r>
            <a:endParaRPr lang="de-DE" sz="800"/>
          </a:p>
        </p:txBody>
      </p:sp>
      <p:grpSp>
        <p:nvGrpSpPr>
          <p:cNvPr id="50" name="ee4p_icon_group">
            <a:extLst>
              <a:ext uri="{FF2B5EF4-FFF2-40B4-BE49-F238E27FC236}">
                <a16:creationId xmlns:a16="http://schemas.microsoft.com/office/drawing/2014/main" id="{BFDE2D79-D128-F6D4-49C7-6F4E49013BC4}"/>
              </a:ext>
            </a:extLst>
          </p:cNvPr>
          <p:cNvGrpSpPr>
            <a:grpSpLocks noChangeAspect="1"/>
          </p:cNvGrpSpPr>
          <p:nvPr/>
        </p:nvGrpSpPr>
        <p:grpSpPr>
          <a:xfrm>
            <a:off x="1562129" y="3852641"/>
            <a:ext cx="323617" cy="323617"/>
            <a:chOff x="4032043" y="2889050"/>
            <a:chExt cx="1080000" cy="1080000"/>
          </a:xfrm>
          <a:solidFill>
            <a:schemeClr val="accent2"/>
          </a:solidFill>
        </p:grpSpPr>
        <p:sp>
          <p:nvSpPr>
            <p:cNvPr id="54" name="ee4p_icon_frame" hidden="1">
              <a:extLst>
                <a:ext uri="{FF2B5EF4-FFF2-40B4-BE49-F238E27FC236}">
                  <a16:creationId xmlns:a16="http://schemas.microsoft.com/office/drawing/2014/main" id="{EE92093D-4A13-4709-594D-B93FE7F71A23}"/>
                </a:ext>
              </a:extLst>
            </p:cNvPr>
            <p:cNvSpPr/>
            <p:nvPr/>
          </p:nvSpPr>
          <p:spPr>
            <a:xfrm>
              <a:off x="4032043" y="2889050"/>
              <a:ext cx="1080000" cy="1080000"/>
            </a:xfrm>
            <a:prstGeom prst="rect">
              <a:avLst/>
            </a:prstGeom>
            <a:grpFill/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6" name="ee4p_icon">
              <a:extLst>
                <a:ext uri="{FF2B5EF4-FFF2-40B4-BE49-F238E27FC236}">
                  <a16:creationId xmlns:a16="http://schemas.microsoft.com/office/drawing/2014/main" id="{3113C0FF-22A0-DBEE-B78B-5C18191BD5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63884" y="2920884"/>
              <a:ext cx="1016319" cy="1016332"/>
            </a:xfrm>
            <a:custGeom>
              <a:avLst/>
              <a:gdLst>
                <a:gd name="connsiteX0" fmla="*/ 250729 w 1016319"/>
                <a:gd name="connsiteY0" fmla="*/ 508116 h 1016332"/>
                <a:gd name="connsiteX1" fmla="*/ 507415 w 1016319"/>
                <a:gd name="connsiteY1" fmla="*/ 766200 h 1016332"/>
                <a:gd name="connsiteX2" fmla="*/ 765499 w 1016319"/>
                <a:gd name="connsiteY2" fmla="*/ 509514 h 1016332"/>
                <a:gd name="connsiteX3" fmla="*/ 759068 w 1016319"/>
                <a:gd name="connsiteY3" fmla="*/ 451626 h 1016332"/>
                <a:gd name="connsiteX4" fmla="*/ 779049 w 1016319"/>
                <a:gd name="connsiteY4" fmla="*/ 447156 h 1016332"/>
                <a:gd name="connsiteX5" fmla="*/ 569076 w 1016319"/>
                <a:gd name="connsiteY5" fmla="*/ 779049 h 1016332"/>
                <a:gd name="connsiteX6" fmla="*/ 237182 w 1016319"/>
                <a:gd name="connsiteY6" fmla="*/ 569076 h 1016332"/>
                <a:gd name="connsiteX7" fmla="*/ 447156 w 1016319"/>
                <a:gd name="connsiteY7" fmla="*/ 237182 h 1016332"/>
                <a:gd name="connsiteX8" fmla="*/ 508116 w 1016319"/>
                <a:gd name="connsiteY8" fmla="*/ 230409 h 1016332"/>
                <a:gd name="connsiteX9" fmla="*/ 743963 w 1016319"/>
                <a:gd name="connsiteY9" fmla="*/ 361541 h 1016332"/>
                <a:gd name="connsiteX10" fmla="*/ 726691 w 1016319"/>
                <a:gd name="connsiteY10" fmla="*/ 372277 h 1016332"/>
                <a:gd name="connsiteX11" fmla="*/ 372202 w 1016319"/>
                <a:gd name="connsiteY11" fmla="*/ 289615 h 1016332"/>
                <a:gd name="connsiteX12" fmla="*/ 250729 w 1016319"/>
                <a:gd name="connsiteY12" fmla="*/ 508116 h 1016332"/>
                <a:gd name="connsiteX13" fmla="*/ 438621 w 1016319"/>
                <a:gd name="connsiteY13" fmla="*/ 193156 h 1016332"/>
                <a:gd name="connsiteX14" fmla="*/ 437301 w 1016319"/>
                <a:gd name="connsiteY14" fmla="*/ 183944 h 1016332"/>
                <a:gd name="connsiteX15" fmla="*/ 498498 w 1016319"/>
                <a:gd name="connsiteY15" fmla="*/ 6889 h 1016332"/>
                <a:gd name="connsiteX16" fmla="*/ 511391 w 1016319"/>
                <a:gd name="connsiteY16" fmla="*/ 545 h 1016332"/>
                <a:gd name="connsiteX17" fmla="*/ 517734 w 1016319"/>
                <a:gd name="connsiteY17" fmla="*/ 6889 h 1016332"/>
                <a:gd name="connsiteX18" fmla="*/ 578694 w 1016319"/>
                <a:gd name="connsiteY18" fmla="*/ 184046 h 1016332"/>
                <a:gd name="connsiteX19" fmla="*/ 572503 w 1016319"/>
                <a:gd name="connsiteY19" fmla="*/ 197011 h 1016332"/>
                <a:gd name="connsiteX20" fmla="*/ 569110 w 1016319"/>
                <a:gd name="connsiteY20" fmla="*/ 197592 h 1016332"/>
                <a:gd name="connsiteX21" fmla="*/ 447156 w 1016319"/>
                <a:gd name="connsiteY21" fmla="*/ 197592 h 1016332"/>
                <a:gd name="connsiteX22" fmla="*/ 438723 w 1016319"/>
                <a:gd name="connsiteY22" fmla="*/ 193156 h 1016332"/>
                <a:gd name="connsiteX23" fmla="*/ 461143 w 1016319"/>
                <a:gd name="connsiteY23" fmla="*/ 177103 h 1016332"/>
                <a:gd name="connsiteX24" fmla="*/ 554886 w 1016319"/>
                <a:gd name="connsiteY24" fmla="*/ 177103 h 1016332"/>
                <a:gd name="connsiteX25" fmla="*/ 508116 w 1016319"/>
                <a:gd name="connsiteY25" fmla="*/ 41196 h 1016332"/>
                <a:gd name="connsiteX26" fmla="*/ 577509 w 1016319"/>
                <a:gd name="connsiteY26" fmla="*/ 823076 h 1016332"/>
                <a:gd name="connsiteX27" fmla="*/ 578829 w 1016319"/>
                <a:gd name="connsiteY27" fmla="*/ 832287 h 1016332"/>
                <a:gd name="connsiteX28" fmla="*/ 517869 w 1016319"/>
                <a:gd name="connsiteY28" fmla="*/ 1009444 h 1016332"/>
                <a:gd name="connsiteX29" fmla="*/ 504976 w 1016319"/>
                <a:gd name="connsiteY29" fmla="*/ 1015787 h 1016332"/>
                <a:gd name="connsiteX30" fmla="*/ 498633 w 1016319"/>
                <a:gd name="connsiteY30" fmla="*/ 1009444 h 1016332"/>
                <a:gd name="connsiteX31" fmla="*/ 437673 w 1016319"/>
                <a:gd name="connsiteY31" fmla="*/ 832287 h 1016332"/>
                <a:gd name="connsiteX32" fmla="*/ 443864 w 1016319"/>
                <a:gd name="connsiteY32" fmla="*/ 819323 h 1016332"/>
                <a:gd name="connsiteX33" fmla="*/ 447257 w 1016319"/>
                <a:gd name="connsiteY33" fmla="*/ 818741 h 1016332"/>
                <a:gd name="connsiteX34" fmla="*/ 569516 w 1016319"/>
                <a:gd name="connsiteY34" fmla="*/ 818741 h 1016332"/>
                <a:gd name="connsiteX35" fmla="*/ 577509 w 1016319"/>
                <a:gd name="connsiteY35" fmla="*/ 823076 h 1016332"/>
                <a:gd name="connsiteX36" fmla="*/ 554987 w 1016319"/>
                <a:gd name="connsiteY36" fmla="*/ 839129 h 1016332"/>
                <a:gd name="connsiteX37" fmla="*/ 461244 w 1016319"/>
                <a:gd name="connsiteY37" fmla="*/ 839129 h 1016332"/>
                <a:gd name="connsiteX38" fmla="*/ 508116 w 1016319"/>
                <a:gd name="connsiteY38" fmla="*/ 975035 h 1016332"/>
                <a:gd name="connsiteX39" fmla="*/ 1016319 w 1016319"/>
                <a:gd name="connsiteY39" fmla="*/ 508116 h 1016332"/>
                <a:gd name="connsiteX40" fmla="*/ 1009546 w 1016319"/>
                <a:gd name="connsiteY40" fmla="*/ 517734 h 1016332"/>
                <a:gd name="connsiteX41" fmla="*/ 832389 w 1016319"/>
                <a:gd name="connsiteY41" fmla="*/ 578694 h 1016332"/>
                <a:gd name="connsiteX42" fmla="*/ 829002 w 1016319"/>
                <a:gd name="connsiteY42" fmla="*/ 579270 h 1016332"/>
                <a:gd name="connsiteX43" fmla="*/ 818842 w 1016319"/>
                <a:gd name="connsiteY43" fmla="*/ 569110 h 1016332"/>
                <a:gd name="connsiteX44" fmla="*/ 818842 w 1016319"/>
                <a:gd name="connsiteY44" fmla="*/ 447156 h 1016332"/>
                <a:gd name="connsiteX45" fmla="*/ 828996 w 1016319"/>
                <a:gd name="connsiteY45" fmla="*/ 436989 h 1016332"/>
                <a:gd name="connsiteX46" fmla="*/ 832389 w 1016319"/>
                <a:gd name="connsiteY46" fmla="*/ 437571 h 1016332"/>
                <a:gd name="connsiteX47" fmla="*/ 1009546 w 1016319"/>
                <a:gd name="connsiteY47" fmla="*/ 498531 h 1016332"/>
                <a:gd name="connsiteX48" fmla="*/ 1016319 w 1016319"/>
                <a:gd name="connsiteY48" fmla="*/ 508116 h 1016332"/>
                <a:gd name="connsiteX49" fmla="*/ 975035 w 1016319"/>
                <a:gd name="connsiteY49" fmla="*/ 508116 h 1016332"/>
                <a:gd name="connsiteX50" fmla="*/ 839162 w 1016319"/>
                <a:gd name="connsiteY50" fmla="*/ 461244 h 1016332"/>
                <a:gd name="connsiteX51" fmla="*/ 839162 w 1016319"/>
                <a:gd name="connsiteY51" fmla="*/ 554987 h 1016332"/>
                <a:gd name="connsiteX52" fmla="*/ 183910 w 1016319"/>
                <a:gd name="connsiteY52" fmla="*/ 578829 h 1016332"/>
                <a:gd name="connsiteX53" fmla="*/ 6889 w 1016319"/>
                <a:gd name="connsiteY53" fmla="*/ 517734 h 1016332"/>
                <a:gd name="connsiteX54" fmla="*/ 545 w 1016319"/>
                <a:gd name="connsiteY54" fmla="*/ 504841 h 1016332"/>
                <a:gd name="connsiteX55" fmla="*/ 6889 w 1016319"/>
                <a:gd name="connsiteY55" fmla="*/ 498498 h 1016332"/>
                <a:gd name="connsiteX56" fmla="*/ 184046 w 1016319"/>
                <a:gd name="connsiteY56" fmla="*/ 437538 h 1016332"/>
                <a:gd name="connsiteX57" fmla="*/ 197011 w 1016319"/>
                <a:gd name="connsiteY57" fmla="*/ 443728 h 1016332"/>
                <a:gd name="connsiteX58" fmla="*/ 197592 w 1016319"/>
                <a:gd name="connsiteY58" fmla="*/ 447122 h 1016332"/>
                <a:gd name="connsiteX59" fmla="*/ 197592 w 1016319"/>
                <a:gd name="connsiteY59" fmla="*/ 569381 h 1016332"/>
                <a:gd name="connsiteX60" fmla="*/ 187432 w 1016319"/>
                <a:gd name="connsiteY60" fmla="*/ 579541 h 1016332"/>
                <a:gd name="connsiteX61" fmla="*/ 183910 w 1016319"/>
                <a:gd name="connsiteY61" fmla="*/ 578829 h 1016332"/>
                <a:gd name="connsiteX62" fmla="*/ 177137 w 1016319"/>
                <a:gd name="connsiteY62" fmla="*/ 461244 h 1016332"/>
                <a:gd name="connsiteX63" fmla="*/ 41196 w 1016319"/>
                <a:gd name="connsiteY63" fmla="*/ 508116 h 1016332"/>
                <a:gd name="connsiteX64" fmla="*/ 177069 w 1016319"/>
                <a:gd name="connsiteY64" fmla="*/ 554987 h 1016332"/>
                <a:gd name="connsiteX65" fmla="*/ 684697 w 1016319"/>
                <a:gd name="connsiteY65" fmla="*/ 245175 h 1016332"/>
                <a:gd name="connsiteX66" fmla="*/ 684693 w 1016319"/>
                <a:gd name="connsiteY66" fmla="*/ 230807 h 1016332"/>
                <a:gd name="connsiteX67" fmla="*/ 687440 w 1016319"/>
                <a:gd name="connsiteY67" fmla="*/ 228851 h 1016332"/>
                <a:gd name="connsiteX68" fmla="*/ 855926 w 1016319"/>
                <a:gd name="connsiteY68" fmla="*/ 146792 h 1016332"/>
                <a:gd name="connsiteX69" fmla="*/ 869473 w 1016319"/>
                <a:gd name="connsiteY69" fmla="*/ 151582 h 1016332"/>
                <a:gd name="connsiteX70" fmla="*/ 869473 w 1016319"/>
                <a:gd name="connsiteY70" fmla="*/ 160339 h 1016332"/>
                <a:gd name="connsiteX71" fmla="*/ 787380 w 1016319"/>
                <a:gd name="connsiteY71" fmla="*/ 328859 h 1016332"/>
                <a:gd name="connsiteX72" fmla="*/ 779930 w 1016319"/>
                <a:gd name="connsiteY72" fmla="*/ 334447 h 1016332"/>
                <a:gd name="connsiteX73" fmla="*/ 778236 w 1016319"/>
                <a:gd name="connsiteY73" fmla="*/ 334447 h 1016332"/>
                <a:gd name="connsiteX74" fmla="*/ 771057 w 1016319"/>
                <a:gd name="connsiteY74" fmla="*/ 331467 h 1016332"/>
                <a:gd name="connsiteX75" fmla="*/ 709148 w 1016319"/>
                <a:gd name="connsiteY75" fmla="*/ 240874 h 1016332"/>
                <a:gd name="connsiteX76" fmla="*/ 775425 w 1016319"/>
                <a:gd name="connsiteY76" fmla="*/ 307151 h 1016332"/>
                <a:gd name="connsiteX77" fmla="*/ 838350 w 1016319"/>
                <a:gd name="connsiteY77" fmla="*/ 177950 h 1016332"/>
                <a:gd name="connsiteX78" fmla="*/ 331603 w 1016319"/>
                <a:gd name="connsiteY78" fmla="*/ 771057 h 1016332"/>
                <a:gd name="connsiteX79" fmla="*/ 331605 w 1016319"/>
                <a:gd name="connsiteY79" fmla="*/ 785426 h 1016332"/>
                <a:gd name="connsiteX80" fmla="*/ 328859 w 1016319"/>
                <a:gd name="connsiteY80" fmla="*/ 787380 h 1016332"/>
                <a:gd name="connsiteX81" fmla="*/ 160373 w 1016319"/>
                <a:gd name="connsiteY81" fmla="*/ 869439 h 1016332"/>
                <a:gd name="connsiteX82" fmla="*/ 146826 w 1016319"/>
                <a:gd name="connsiteY82" fmla="*/ 864650 h 1016332"/>
                <a:gd name="connsiteX83" fmla="*/ 146826 w 1016319"/>
                <a:gd name="connsiteY83" fmla="*/ 855893 h 1016332"/>
                <a:gd name="connsiteX84" fmla="*/ 228885 w 1016319"/>
                <a:gd name="connsiteY84" fmla="*/ 687406 h 1016332"/>
                <a:gd name="connsiteX85" fmla="*/ 236336 w 1016319"/>
                <a:gd name="connsiteY85" fmla="*/ 681818 h 1016332"/>
                <a:gd name="connsiteX86" fmla="*/ 245209 w 1016319"/>
                <a:gd name="connsiteY86" fmla="*/ 684663 h 1016332"/>
                <a:gd name="connsiteX87" fmla="*/ 307151 w 1016319"/>
                <a:gd name="connsiteY87" fmla="*/ 775358 h 1016332"/>
                <a:gd name="connsiteX88" fmla="*/ 240874 w 1016319"/>
                <a:gd name="connsiteY88" fmla="*/ 709081 h 1016332"/>
                <a:gd name="connsiteX89" fmla="*/ 177950 w 1016319"/>
                <a:gd name="connsiteY89" fmla="*/ 838282 h 1016332"/>
                <a:gd name="connsiteX90" fmla="*/ 869338 w 1016319"/>
                <a:gd name="connsiteY90" fmla="*/ 855859 h 1016332"/>
                <a:gd name="connsiteX91" fmla="*/ 864549 w 1016319"/>
                <a:gd name="connsiteY91" fmla="*/ 869405 h 1016332"/>
                <a:gd name="connsiteX92" fmla="*/ 855791 w 1016319"/>
                <a:gd name="connsiteY92" fmla="*/ 869405 h 1016332"/>
                <a:gd name="connsiteX93" fmla="*/ 687304 w 1016319"/>
                <a:gd name="connsiteY93" fmla="*/ 787346 h 1016332"/>
                <a:gd name="connsiteX94" fmla="*/ 682607 w 1016319"/>
                <a:gd name="connsiteY94" fmla="*/ 773769 h 1016332"/>
                <a:gd name="connsiteX95" fmla="*/ 684561 w 1016319"/>
                <a:gd name="connsiteY95" fmla="*/ 771023 h 1016332"/>
                <a:gd name="connsiteX96" fmla="*/ 770989 w 1016319"/>
                <a:gd name="connsiteY96" fmla="*/ 684595 h 1016332"/>
                <a:gd name="connsiteX97" fmla="*/ 779862 w 1016319"/>
                <a:gd name="connsiteY97" fmla="*/ 681750 h 1016332"/>
                <a:gd name="connsiteX98" fmla="*/ 787313 w 1016319"/>
                <a:gd name="connsiteY98" fmla="*/ 687338 h 1016332"/>
                <a:gd name="connsiteX99" fmla="*/ 838180 w 1016319"/>
                <a:gd name="connsiteY99" fmla="*/ 838282 h 1016332"/>
                <a:gd name="connsiteX100" fmla="*/ 775256 w 1016319"/>
                <a:gd name="connsiteY100" fmla="*/ 709081 h 1016332"/>
                <a:gd name="connsiteX101" fmla="*/ 708979 w 1016319"/>
                <a:gd name="connsiteY101" fmla="*/ 775358 h 1016332"/>
                <a:gd name="connsiteX102" fmla="*/ 146792 w 1016319"/>
                <a:gd name="connsiteY102" fmla="*/ 160373 h 1016332"/>
                <a:gd name="connsiteX103" fmla="*/ 151582 w 1016319"/>
                <a:gd name="connsiteY103" fmla="*/ 146826 h 1016332"/>
                <a:gd name="connsiteX104" fmla="*/ 160339 w 1016319"/>
                <a:gd name="connsiteY104" fmla="*/ 146826 h 1016332"/>
                <a:gd name="connsiteX105" fmla="*/ 328859 w 1016319"/>
                <a:gd name="connsiteY105" fmla="*/ 228851 h 1016332"/>
                <a:gd name="connsiteX106" fmla="*/ 333558 w 1016319"/>
                <a:gd name="connsiteY106" fmla="*/ 242430 h 1016332"/>
                <a:gd name="connsiteX107" fmla="*/ 331603 w 1016319"/>
                <a:gd name="connsiteY107" fmla="*/ 245175 h 1016332"/>
                <a:gd name="connsiteX108" fmla="*/ 245175 w 1016319"/>
                <a:gd name="connsiteY108" fmla="*/ 331603 h 1016332"/>
                <a:gd name="connsiteX109" fmla="*/ 237995 w 1016319"/>
                <a:gd name="connsiteY109" fmla="*/ 334583 h 1016332"/>
                <a:gd name="connsiteX110" fmla="*/ 236302 w 1016319"/>
                <a:gd name="connsiteY110" fmla="*/ 334583 h 1016332"/>
                <a:gd name="connsiteX111" fmla="*/ 228851 w 1016319"/>
                <a:gd name="connsiteY111" fmla="*/ 328995 h 1016332"/>
                <a:gd name="connsiteX112" fmla="*/ 177950 w 1016319"/>
                <a:gd name="connsiteY112" fmla="*/ 177950 h 1016332"/>
                <a:gd name="connsiteX113" fmla="*/ 240874 w 1016319"/>
                <a:gd name="connsiteY113" fmla="*/ 307151 h 1016332"/>
                <a:gd name="connsiteX114" fmla="*/ 307151 w 1016319"/>
                <a:gd name="connsiteY114" fmla="*/ 240874 h 1016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016319" h="1016332">
                  <a:moveTo>
                    <a:pt x="250729" y="508116"/>
                  </a:moveTo>
                  <a:cubicBezTo>
                    <a:pt x="250343" y="650264"/>
                    <a:pt x="365266" y="765814"/>
                    <a:pt x="507415" y="766200"/>
                  </a:cubicBezTo>
                  <a:cubicBezTo>
                    <a:pt x="649567" y="766586"/>
                    <a:pt x="765113" y="651663"/>
                    <a:pt x="765499" y="509514"/>
                  </a:cubicBezTo>
                  <a:cubicBezTo>
                    <a:pt x="765553" y="490038"/>
                    <a:pt x="763396" y="470615"/>
                    <a:pt x="759068" y="451626"/>
                  </a:cubicBezTo>
                  <a:lnTo>
                    <a:pt x="779049" y="447156"/>
                  </a:lnTo>
                  <a:cubicBezTo>
                    <a:pt x="812716" y="596789"/>
                    <a:pt x="718709" y="745382"/>
                    <a:pt x="569076" y="779049"/>
                  </a:cubicBezTo>
                  <a:cubicBezTo>
                    <a:pt x="419443" y="812716"/>
                    <a:pt x="270850" y="718709"/>
                    <a:pt x="237182" y="569076"/>
                  </a:cubicBezTo>
                  <a:cubicBezTo>
                    <a:pt x="203515" y="419443"/>
                    <a:pt x="297523" y="270850"/>
                    <a:pt x="447156" y="237182"/>
                  </a:cubicBezTo>
                  <a:cubicBezTo>
                    <a:pt x="467164" y="232681"/>
                    <a:pt x="487610" y="230409"/>
                    <a:pt x="508116" y="230409"/>
                  </a:cubicBezTo>
                  <a:cubicBezTo>
                    <a:pt x="604101" y="230464"/>
                    <a:pt x="693265" y="280039"/>
                    <a:pt x="743963" y="361541"/>
                  </a:cubicBezTo>
                  <a:lnTo>
                    <a:pt x="726691" y="372277"/>
                  </a:lnTo>
                  <a:cubicBezTo>
                    <a:pt x="651629" y="251560"/>
                    <a:pt x="492916" y="214552"/>
                    <a:pt x="372202" y="289615"/>
                  </a:cubicBezTo>
                  <a:cubicBezTo>
                    <a:pt x="296683" y="336574"/>
                    <a:pt x="250755" y="419189"/>
                    <a:pt x="250729" y="508116"/>
                  </a:cubicBezTo>
                  <a:close/>
                  <a:moveTo>
                    <a:pt x="438621" y="193156"/>
                  </a:moveTo>
                  <a:cubicBezTo>
                    <a:pt x="436718" y="190479"/>
                    <a:pt x="436227" y="187048"/>
                    <a:pt x="437301" y="183944"/>
                  </a:cubicBezTo>
                  <a:lnTo>
                    <a:pt x="498498" y="6889"/>
                  </a:lnTo>
                  <a:cubicBezTo>
                    <a:pt x="500306" y="1577"/>
                    <a:pt x="506077" y="-1263"/>
                    <a:pt x="511391" y="545"/>
                  </a:cubicBezTo>
                  <a:cubicBezTo>
                    <a:pt x="514374" y="1561"/>
                    <a:pt x="516718" y="3904"/>
                    <a:pt x="517734" y="6889"/>
                  </a:cubicBezTo>
                  <a:lnTo>
                    <a:pt x="578694" y="184046"/>
                  </a:lnTo>
                  <a:cubicBezTo>
                    <a:pt x="580563" y="189336"/>
                    <a:pt x="577793" y="195141"/>
                    <a:pt x="572503" y="197011"/>
                  </a:cubicBezTo>
                  <a:cubicBezTo>
                    <a:pt x="571413" y="197397"/>
                    <a:pt x="570264" y="197593"/>
                    <a:pt x="569110" y="197592"/>
                  </a:cubicBezTo>
                  <a:lnTo>
                    <a:pt x="447156" y="197592"/>
                  </a:lnTo>
                  <a:cubicBezTo>
                    <a:pt x="443783" y="197605"/>
                    <a:pt x="440623" y="195943"/>
                    <a:pt x="438723" y="193156"/>
                  </a:cubicBezTo>
                  <a:close/>
                  <a:moveTo>
                    <a:pt x="461143" y="177103"/>
                  </a:moveTo>
                  <a:lnTo>
                    <a:pt x="554886" y="177103"/>
                  </a:lnTo>
                  <a:lnTo>
                    <a:pt x="508116" y="41196"/>
                  </a:lnTo>
                  <a:close/>
                  <a:moveTo>
                    <a:pt x="577509" y="823076"/>
                  </a:moveTo>
                  <a:cubicBezTo>
                    <a:pt x="579412" y="825751"/>
                    <a:pt x="579903" y="829185"/>
                    <a:pt x="578829" y="832287"/>
                  </a:cubicBezTo>
                  <a:lnTo>
                    <a:pt x="517869" y="1009444"/>
                  </a:lnTo>
                  <a:cubicBezTo>
                    <a:pt x="516061" y="1014754"/>
                    <a:pt x="510290" y="1017596"/>
                    <a:pt x="504976" y="1015787"/>
                  </a:cubicBezTo>
                  <a:cubicBezTo>
                    <a:pt x="501993" y="1014771"/>
                    <a:pt x="499649" y="1012428"/>
                    <a:pt x="498633" y="1009444"/>
                  </a:cubicBezTo>
                  <a:lnTo>
                    <a:pt x="437673" y="832287"/>
                  </a:lnTo>
                  <a:cubicBezTo>
                    <a:pt x="435804" y="826998"/>
                    <a:pt x="438574" y="821193"/>
                    <a:pt x="443864" y="819323"/>
                  </a:cubicBezTo>
                  <a:cubicBezTo>
                    <a:pt x="444954" y="818937"/>
                    <a:pt x="446102" y="818741"/>
                    <a:pt x="447257" y="818741"/>
                  </a:cubicBezTo>
                  <a:lnTo>
                    <a:pt x="569516" y="818741"/>
                  </a:lnTo>
                  <a:cubicBezTo>
                    <a:pt x="572713" y="818846"/>
                    <a:pt x="575676" y="820451"/>
                    <a:pt x="577509" y="823076"/>
                  </a:cubicBezTo>
                  <a:close/>
                  <a:moveTo>
                    <a:pt x="554987" y="839129"/>
                  </a:moveTo>
                  <a:lnTo>
                    <a:pt x="461244" y="839129"/>
                  </a:lnTo>
                  <a:lnTo>
                    <a:pt x="508116" y="975035"/>
                  </a:lnTo>
                  <a:close/>
                  <a:moveTo>
                    <a:pt x="1016319" y="508116"/>
                  </a:moveTo>
                  <a:cubicBezTo>
                    <a:pt x="1016336" y="512437"/>
                    <a:pt x="1013620" y="516295"/>
                    <a:pt x="1009546" y="517734"/>
                  </a:cubicBezTo>
                  <a:lnTo>
                    <a:pt x="832389" y="578694"/>
                  </a:lnTo>
                  <a:cubicBezTo>
                    <a:pt x="831305" y="579093"/>
                    <a:pt x="830157" y="579287"/>
                    <a:pt x="829002" y="579270"/>
                  </a:cubicBezTo>
                  <a:cubicBezTo>
                    <a:pt x="823391" y="579270"/>
                    <a:pt x="818842" y="574721"/>
                    <a:pt x="818842" y="569110"/>
                  </a:cubicBezTo>
                  <a:lnTo>
                    <a:pt x="818842" y="447156"/>
                  </a:lnTo>
                  <a:cubicBezTo>
                    <a:pt x="818839" y="441544"/>
                    <a:pt x="823387" y="436992"/>
                    <a:pt x="828996" y="436989"/>
                  </a:cubicBezTo>
                  <a:cubicBezTo>
                    <a:pt x="830154" y="436989"/>
                    <a:pt x="831299" y="437185"/>
                    <a:pt x="832389" y="437571"/>
                  </a:cubicBezTo>
                  <a:lnTo>
                    <a:pt x="1009546" y="498531"/>
                  </a:lnTo>
                  <a:cubicBezTo>
                    <a:pt x="1013606" y="499967"/>
                    <a:pt x="1016322" y="503808"/>
                    <a:pt x="1016319" y="508116"/>
                  </a:cubicBezTo>
                  <a:close/>
                  <a:moveTo>
                    <a:pt x="975035" y="508116"/>
                  </a:moveTo>
                  <a:lnTo>
                    <a:pt x="839162" y="461244"/>
                  </a:lnTo>
                  <a:lnTo>
                    <a:pt x="839162" y="554987"/>
                  </a:lnTo>
                  <a:close/>
                  <a:moveTo>
                    <a:pt x="183910" y="578829"/>
                  </a:moveTo>
                  <a:lnTo>
                    <a:pt x="6889" y="517734"/>
                  </a:lnTo>
                  <a:cubicBezTo>
                    <a:pt x="1577" y="515925"/>
                    <a:pt x="-1263" y="510155"/>
                    <a:pt x="545" y="504841"/>
                  </a:cubicBezTo>
                  <a:cubicBezTo>
                    <a:pt x="1561" y="501857"/>
                    <a:pt x="3904" y="499514"/>
                    <a:pt x="6889" y="498498"/>
                  </a:cubicBezTo>
                  <a:lnTo>
                    <a:pt x="184046" y="437538"/>
                  </a:lnTo>
                  <a:cubicBezTo>
                    <a:pt x="189336" y="435668"/>
                    <a:pt x="195141" y="438438"/>
                    <a:pt x="197011" y="443728"/>
                  </a:cubicBezTo>
                  <a:cubicBezTo>
                    <a:pt x="197397" y="444819"/>
                    <a:pt x="197593" y="445967"/>
                    <a:pt x="197592" y="447122"/>
                  </a:cubicBezTo>
                  <a:lnTo>
                    <a:pt x="197592" y="569381"/>
                  </a:lnTo>
                  <a:cubicBezTo>
                    <a:pt x="197592" y="574992"/>
                    <a:pt x="193044" y="579541"/>
                    <a:pt x="187432" y="579541"/>
                  </a:cubicBezTo>
                  <a:cubicBezTo>
                    <a:pt x="186223" y="579534"/>
                    <a:pt x="185027" y="579290"/>
                    <a:pt x="183910" y="578829"/>
                  </a:cubicBezTo>
                  <a:close/>
                  <a:moveTo>
                    <a:pt x="177137" y="461244"/>
                  </a:moveTo>
                  <a:lnTo>
                    <a:pt x="41196" y="508116"/>
                  </a:lnTo>
                  <a:lnTo>
                    <a:pt x="177069" y="554987"/>
                  </a:lnTo>
                  <a:close/>
                  <a:moveTo>
                    <a:pt x="684697" y="245175"/>
                  </a:moveTo>
                  <a:cubicBezTo>
                    <a:pt x="680727" y="241208"/>
                    <a:pt x="680727" y="234775"/>
                    <a:pt x="684693" y="230807"/>
                  </a:cubicBezTo>
                  <a:cubicBezTo>
                    <a:pt x="685496" y="230006"/>
                    <a:pt x="686424" y="229346"/>
                    <a:pt x="687440" y="228851"/>
                  </a:cubicBezTo>
                  <a:lnTo>
                    <a:pt x="855926" y="146792"/>
                  </a:lnTo>
                  <a:cubicBezTo>
                    <a:pt x="860990" y="144374"/>
                    <a:pt x="867055" y="146518"/>
                    <a:pt x="869473" y="151582"/>
                  </a:cubicBezTo>
                  <a:cubicBezTo>
                    <a:pt x="870797" y="154351"/>
                    <a:pt x="870797" y="157570"/>
                    <a:pt x="869473" y="160339"/>
                  </a:cubicBezTo>
                  <a:lnTo>
                    <a:pt x="787380" y="328859"/>
                  </a:lnTo>
                  <a:cubicBezTo>
                    <a:pt x="785948" y="331818"/>
                    <a:pt x="783171" y="333900"/>
                    <a:pt x="779930" y="334447"/>
                  </a:cubicBezTo>
                  <a:cubicBezTo>
                    <a:pt x="779367" y="334499"/>
                    <a:pt x="778798" y="334499"/>
                    <a:pt x="778236" y="334447"/>
                  </a:cubicBezTo>
                  <a:cubicBezTo>
                    <a:pt x="775544" y="334445"/>
                    <a:pt x="772960" y="333373"/>
                    <a:pt x="771057" y="331467"/>
                  </a:cubicBezTo>
                  <a:close/>
                  <a:moveTo>
                    <a:pt x="709148" y="240874"/>
                  </a:moveTo>
                  <a:lnTo>
                    <a:pt x="775425" y="307151"/>
                  </a:lnTo>
                  <a:lnTo>
                    <a:pt x="838350" y="177950"/>
                  </a:lnTo>
                  <a:close/>
                  <a:moveTo>
                    <a:pt x="331603" y="771057"/>
                  </a:moveTo>
                  <a:cubicBezTo>
                    <a:pt x="335571" y="775022"/>
                    <a:pt x="335572" y="781457"/>
                    <a:pt x="331605" y="785426"/>
                  </a:cubicBezTo>
                  <a:cubicBezTo>
                    <a:pt x="330805" y="786225"/>
                    <a:pt x="329877" y="786886"/>
                    <a:pt x="328859" y="787380"/>
                  </a:cubicBezTo>
                  <a:lnTo>
                    <a:pt x="160373" y="869439"/>
                  </a:lnTo>
                  <a:cubicBezTo>
                    <a:pt x="155309" y="871857"/>
                    <a:pt x="149244" y="869714"/>
                    <a:pt x="146826" y="864650"/>
                  </a:cubicBezTo>
                  <a:cubicBezTo>
                    <a:pt x="145504" y="861880"/>
                    <a:pt x="145504" y="858663"/>
                    <a:pt x="146826" y="855893"/>
                  </a:cubicBezTo>
                  <a:lnTo>
                    <a:pt x="228885" y="687406"/>
                  </a:lnTo>
                  <a:cubicBezTo>
                    <a:pt x="230318" y="684446"/>
                    <a:pt x="233094" y="682367"/>
                    <a:pt x="236336" y="681818"/>
                  </a:cubicBezTo>
                  <a:cubicBezTo>
                    <a:pt x="239579" y="681273"/>
                    <a:pt x="242886" y="682333"/>
                    <a:pt x="245209" y="684663"/>
                  </a:cubicBezTo>
                  <a:close/>
                  <a:moveTo>
                    <a:pt x="307151" y="775358"/>
                  </a:moveTo>
                  <a:lnTo>
                    <a:pt x="240874" y="709081"/>
                  </a:lnTo>
                  <a:lnTo>
                    <a:pt x="177950" y="838282"/>
                  </a:lnTo>
                  <a:close/>
                  <a:moveTo>
                    <a:pt x="869338" y="855859"/>
                  </a:moveTo>
                  <a:cubicBezTo>
                    <a:pt x="871756" y="860922"/>
                    <a:pt x="869612" y="866987"/>
                    <a:pt x="864549" y="869405"/>
                  </a:cubicBezTo>
                  <a:cubicBezTo>
                    <a:pt x="861779" y="870730"/>
                    <a:pt x="858561" y="870730"/>
                    <a:pt x="855791" y="869405"/>
                  </a:cubicBezTo>
                  <a:lnTo>
                    <a:pt x="687304" y="787346"/>
                  </a:lnTo>
                  <a:cubicBezTo>
                    <a:pt x="682258" y="784894"/>
                    <a:pt x="680155" y="778815"/>
                    <a:pt x="682607" y="773769"/>
                  </a:cubicBezTo>
                  <a:cubicBezTo>
                    <a:pt x="683101" y="772750"/>
                    <a:pt x="683762" y="771822"/>
                    <a:pt x="684561" y="771023"/>
                  </a:cubicBezTo>
                  <a:lnTo>
                    <a:pt x="770989" y="684595"/>
                  </a:lnTo>
                  <a:cubicBezTo>
                    <a:pt x="773312" y="682265"/>
                    <a:pt x="776617" y="681205"/>
                    <a:pt x="779862" y="681750"/>
                  </a:cubicBezTo>
                  <a:cubicBezTo>
                    <a:pt x="783103" y="682299"/>
                    <a:pt x="785880" y="684378"/>
                    <a:pt x="787313" y="687338"/>
                  </a:cubicBezTo>
                  <a:close/>
                  <a:moveTo>
                    <a:pt x="838180" y="838282"/>
                  </a:moveTo>
                  <a:lnTo>
                    <a:pt x="775256" y="709081"/>
                  </a:lnTo>
                  <a:lnTo>
                    <a:pt x="708979" y="775358"/>
                  </a:lnTo>
                  <a:close/>
                  <a:moveTo>
                    <a:pt x="146792" y="160373"/>
                  </a:moveTo>
                  <a:cubicBezTo>
                    <a:pt x="144374" y="155309"/>
                    <a:pt x="146518" y="149244"/>
                    <a:pt x="151582" y="146826"/>
                  </a:cubicBezTo>
                  <a:cubicBezTo>
                    <a:pt x="154351" y="145504"/>
                    <a:pt x="157570" y="145504"/>
                    <a:pt x="160339" y="146826"/>
                  </a:cubicBezTo>
                  <a:lnTo>
                    <a:pt x="328859" y="228851"/>
                  </a:lnTo>
                  <a:cubicBezTo>
                    <a:pt x="333907" y="231303"/>
                    <a:pt x="336010" y="237383"/>
                    <a:pt x="333558" y="242430"/>
                  </a:cubicBezTo>
                  <a:cubicBezTo>
                    <a:pt x="333064" y="243447"/>
                    <a:pt x="332403" y="244375"/>
                    <a:pt x="331603" y="245175"/>
                  </a:cubicBezTo>
                  <a:lnTo>
                    <a:pt x="245175" y="331603"/>
                  </a:lnTo>
                  <a:cubicBezTo>
                    <a:pt x="243271" y="333509"/>
                    <a:pt x="240689" y="334581"/>
                    <a:pt x="237995" y="334583"/>
                  </a:cubicBezTo>
                  <a:cubicBezTo>
                    <a:pt x="237432" y="334634"/>
                    <a:pt x="236865" y="334634"/>
                    <a:pt x="236302" y="334583"/>
                  </a:cubicBezTo>
                  <a:cubicBezTo>
                    <a:pt x="233060" y="334035"/>
                    <a:pt x="230284" y="331953"/>
                    <a:pt x="228851" y="328995"/>
                  </a:cubicBezTo>
                  <a:close/>
                  <a:moveTo>
                    <a:pt x="177950" y="177950"/>
                  </a:moveTo>
                  <a:lnTo>
                    <a:pt x="240874" y="307151"/>
                  </a:lnTo>
                  <a:lnTo>
                    <a:pt x="307151" y="240874"/>
                  </a:lnTo>
                  <a:close/>
                </a:path>
              </a:pathLst>
            </a:custGeom>
            <a:grpFill/>
            <a:ln w="3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62" name="Freeform 393">
            <a:extLst>
              <a:ext uri="{FF2B5EF4-FFF2-40B4-BE49-F238E27FC236}">
                <a16:creationId xmlns:a16="http://schemas.microsoft.com/office/drawing/2014/main" id="{FA2841B6-E550-E06A-64BB-4DD53752BA75}"/>
              </a:ext>
            </a:extLst>
          </p:cNvPr>
          <p:cNvSpPr>
            <a:spLocks noEditPoints="1"/>
          </p:cNvSpPr>
          <p:nvPr/>
        </p:nvSpPr>
        <p:spPr bwMode="auto">
          <a:xfrm>
            <a:off x="2117706" y="3890901"/>
            <a:ext cx="186129" cy="186129"/>
          </a:xfrm>
          <a:custGeom>
            <a:avLst/>
            <a:gdLst>
              <a:gd name="T0" fmla="*/ 0 w 464"/>
              <a:gd name="T1" fmla="*/ 242 h 484"/>
              <a:gd name="T2" fmla="*/ 18 w 464"/>
              <a:gd name="T3" fmla="*/ 150 h 484"/>
              <a:gd name="T4" fmla="*/ 67 w 464"/>
              <a:gd name="T5" fmla="*/ 74 h 484"/>
              <a:gd name="T6" fmla="*/ 141 w 464"/>
              <a:gd name="T7" fmla="*/ 22 h 484"/>
              <a:gd name="T8" fmla="*/ 233 w 464"/>
              <a:gd name="T9" fmla="*/ 1 h 484"/>
              <a:gd name="T10" fmla="*/ 252 w 464"/>
              <a:gd name="T11" fmla="*/ 13 h 484"/>
              <a:gd name="T12" fmla="*/ 247 w 464"/>
              <a:gd name="T13" fmla="*/ 36 h 484"/>
              <a:gd name="T14" fmla="*/ 206 w 464"/>
              <a:gd name="T15" fmla="*/ 93 h 484"/>
              <a:gd name="T16" fmla="*/ 192 w 464"/>
              <a:gd name="T17" fmla="*/ 162 h 484"/>
              <a:gd name="T18" fmla="*/ 215 w 464"/>
              <a:gd name="T19" fmla="*/ 248 h 484"/>
              <a:gd name="T20" fmla="*/ 277 w 464"/>
              <a:gd name="T21" fmla="*/ 310 h 484"/>
              <a:gd name="T22" fmla="*/ 363 w 464"/>
              <a:gd name="T23" fmla="*/ 333 h 484"/>
              <a:gd name="T24" fmla="*/ 435 w 464"/>
              <a:gd name="T25" fmla="*/ 317 h 484"/>
              <a:gd name="T26" fmla="*/ 457 w 464"/>
              <a:gd name="T27" fmla="*/ 321 h 484"/>
              <a:gd name="T28" fmla="*/ 463 w 464"/>
              <a:gd name="T29" fmla="*/ 332 h 484"/>
              <a:gd name="T30" fmla="*/ 461 w 464"/>
              <a:gd name="T31" fmla="*/ 344 h 484"/>
              <a:gd name="T32" fmla="*/ 372 w 464"/>
              <a:gd name="T33" fmla="*/ 446 h 484"/>
              <a:gd name="T34" fmla="*/ 242 w 464"/>
              <a:gd name="T35" fmla="*/ 484 h 484"/>
              <a:gd name="T36" fmla="*/ 148 w 464"/>
              <a:gd name="T37" fmla="*/ 465 h 484"/>
              <a:gd name="T38" fmla="*/ 71 w 464"/>
              <a:gd name="T39" fmla="*/ 413 h 484"/>
              <a:gd name="T40" fmla="*/ 19 w 464"/>
              <a:gd name="T41" fmla="*/ 336 h 484"/>
              <a:gd name="T42" fmla="*/ 0 w 464"/>
              <a:gd name="T43" fmla="*/ 242 h 484"/>
              <a:gd name="T44" fmla="*/ 40 w 464"/>
              <a:gd name="T45" fmla="*/ 242 h 484"/>
              <a:gd name="T46" fmla="*/ 56 w 464"/>
              <a:gd name="T47" fmla="*/ 321 h 484"/>
              <a:gd name="T48" fmla="*/ 99 w 464"/>
              <a:gd name="T49" fmla="*/ 385 h 484"/>
              <a:gd name="T50" fmla="*/ 164 w 464"/>
              <a:gd name="T51" fmla="*/ 428 h 484"/>
              <a:gd name="T52" fmla="*/ 242 w 464"/>
              <a:gd name="T53" fmla="*/ 444 h 484"/>
              <a:gd name="T54" fmla="*/ 328 w 464"/>
              <a:gd name="T55" fmla="*/ 425 h 484"/>
              <a:gd name="T56" fmla="*/ 398 w 464"/>
              <a:gd name="T57" fmla="*/ 371 h 484"/>
              <a:gd name="T58" fmla="*/ 363 w 464"/>
              <a:gd name="T59" fmla="*/ 373 h 484"/>
              <a:gd name="T60" fmla="*/ 257 w 464"/>
              <a:gd name="T61" fmla="*/ 345 h 484"/>
              <a:gd name="T62" fmla="*/ 180 w 464"/>
              <a:gd name="T63" fmla="*/ 268 h 484"/>
              <a:gd name="T64" fmla="*/ 151 w 464"/>
              <a:gd name="T65" fmla="*/ 162 h 484"/>
              <a:gd name="T66" fmla="*/ 184 w 464"/>
              <a:gd name="T67" fmla="*/ 49 h 484"/>
              <a:gd name="T68" fmla="*/ 81 w 464"/>
              <a:gd name="T69" fmla="*/ 121 h 484"/>
              <a:gd name="T70" fmla="*/ 40 w 464"/>
              <a:gd name="T71" fmla="*/ 242 h 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464" h="484">
                <a:moveTo>
                  <a:pt x="0" y="242"/>
                </a:moveTo>
                <a:cubicBezTo>
                  <a:pt x="0" y="210"/>
                  <a:pt x="6" y="179"/>
                  <a:pt x="18" y="150"/>
                </a:cubicBezTo>
                <a:cubicBezTo>
                  <a:pt x="30" y="121"/>
                  <a:pt x="47" y="96"/>
                  <a:pt x="67" y="74"/>
                </a:cubicBezTo>
                <a:cubicBezTo>
                  <a:pt x="88" y="53"/>
                  <a:pt x="113" y="35"/>
                  <a:pt x="141" y="22"/>
                </a:cubicBezTo>
                <a:cubicBezTo>
                  <a:pt x="170" y="9"/>
                  <a:pt x="201" y="2"/>
                  <a:pt x="233" y="1"/>
                </a:cubicBezTo>
                <a:cubicBezTo>
                  <a:pt x="242" y="0"/>
                  <a:pt x="248" y="4"/>
                  <a:pt x="252" y="13"/>
                </a:cubicBezTo>
                <a:cubicBezTo>
                  <a:pt x="256" y="22"/>
                  <a:pt x="254" y="29"/>
                  <a:pt x="247" y="36"/>
                </a:cubicBezTo>
                <a:cubicBezTo>
                  <a:pt x="229" y="52"/>
                  <a:pt x="215" y="71"/>
                  <a:pt x="206" y="93"/>
                </a:cubicBezTo>
                <a:cubicBezTo>
                  <a:pt x="196" y="115"/>
                  <a:pt x="192" y="138"/>
                  <a:pt x="192" y="162"/>
                </a:cubicBezTo>
                <a:cubicBezTo>
                  <a:pt x="192" y="193"/>
                  <a:pt x="199" y="221"/>
                  <a:pt x="215" y="248"/>
                </a:cubicBezTo>
                <a:cubicBezTo>
                  <a:pt x="230" y="274"/>
                  <a:pt x="251" y="295"/>
                  <a:pt x="277" y="310"/>
                </a:cubicBezTo>
                <a:cubicBezTo>
                  <a:pt x="303" y="325"/>
                  <a:pt x="332" y="333"/>
                  <a:pt x="363" y="333"/>
                </a:cubicBezTo>
                <a:cubicBezTo>
                  <a:pt x="388" y="333"/>
                  <a:pt x="412" y="328"/>
                  <a:pt x="435" y="317"/>
                </a:cubicBezTo>
                <a:cubicBezTo>
                  <a:pt x="443" y="313"/>
                  <a:pt x="451" y="315"/>
                  <a:pt x="457" y="321"/>
                </a:cubicBezTo>
                <a:cubicBezTo>
                  <a:pt x="460" y="324"/>
                  <a:pt x="462" y="328"/>
                  <a:pt x="463" y="332"/>
                </a:cubicBezTo>
                <a:cubicBezTo>
                  <a:pt x="464" y="336"/>
                  <a:pt x="463" y="340"/>
                  <a:pt x="461" y="344"/>
                </a:cubicBezTo>
                <a:cubicBezTo>
                  <a:pt x="442" y="386"/>
                  <a:pt x="412" y="420"/>
                  <a:pt x="372" y="446"/>
                </a:cubicBezTo>
                <a:cubicBezTo>
                  <a:pt x="332" y="471"/>
                  <a:pt x="289" y="484"/>
                  <a:pt x="242" y="484"/>
                </a:cubicBezTo>
                <a:cubicBezTo>
                  <a:pt x="209" y="484"/>
                  <a:pt x="178" y="478"/>
                  <a:pt x="148" y="465"/>
                </a:cubicBezTo>
                <a:cubicBezTo>
                  <a:pt x="118" y="452"/>
                  <a:pt x="93" y="435"/>
                  <a:pt x="71" y="413"/>
                </a:cubicBezTo>
                <a:cubicBezTo>
                  <a:pt x="49" y="392"/>
                  <a:pt x="32" y="366"/>
                  <a:pt x="19" y="336"/>
                </a:cubicBezTo>
                <a:cubicBezTo>
                  <a:pt x="6" y="306"/>
                  <a:pt x="0" y="275"/>
                  <a:pt x="0" y="242"/>
                </a:cubicBezTo>
                <a:close/>
                <a:moveTo>
                  <a:pt x="40" y="242"/>
                </a:moveTo>
                <a:cubicBezTo>
                  <a:pt x="40" y="270"/>
                  <a:pt x="46" y="296"/>
                  <a:pt x="56" y="321"/>
                </a:cubicBezTo>
                <a:cubicBezTo>
                  <a:pt x="67" y="345"/>
                  <a:pt x="81" y="367"/>
                  <a:pt x="99" y="385"/>
                </a:cubicBezTo>
                <a:cubicBezTo>
                  <a:pt x="117" y="403"/>
                  <a:pt x="139" y="417"/>
                  <a:pt x="164" y="428"/>
                </a:cubicBezTo>
                <a:cubicBezTo>
                  <a:pt x="189" y="439"/>
                  <a:pt x="215" y="444"/>
                  <a:pt x="242" y="444"/>
                </a:cubicBezTo>
                <a:cubicBezTo>
                  <a:pt x="272" y="444"/>
                  <a:pt x="301" y="437"/>
                  <a:pt x="328" y="425"/>
                </a:cubicBezTo>
                <a:cubicBezTo>
                  <a:pt x="355" y="412"/>
                  <a:pt x="378" y="394"/>
                  <a:pt x="398" y="371"/>
                </a:cubicBezTo>
                <a:cubicBezTo>
                  <a:pt x="386" y="372"/>
                  <a:pt x="375" y="373"/>
                  <a:pt x="363" y="373"/>
                </a:cubicBezTo>
                <a:cubicBezTo>
                  <a:pt x="325" y="373"/>
                  <a:pt x="289" y="364"/>
                  <a:pt x="257" y="345"/>
                </a:cubicBezTo>
                <a:cubicBezTo>
                  <a:pt x="224" y="326"/>
                  <a:pt x="198" y="300"/>
                  <a:pt x="180" y="268"/>
                </a:cubicBezTo>
                <a:cubicBezTo>
                  <a:pt x="161" y="235"/>
                  <a:pt x="151" y="200"/>
                  <a:pt x="151" y="162"/>
                </a:cubicBezTo>
                <a:cubicBezTo>
                  <a:pt x="151" y="121"/>
                  <a:pt x="162" y="84"/>
                  <a:pt x="184" y="49"/>
                </a:cubicBezTo>
                <a:cubicBezTo>
                  <a:pt x="142" y="62"/>
                  <a:pt x="107" y="86"/>
                  <a:pt x="81" y="121"/>
                </a:cubicBezTo>
                <a:cubicBezTo>
                  <a:pt x="54" y="157"/>
                  <a:pt x="40" y="197"/>
                  <a:pt x="40" y="242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63" name="Freeform 393">
            <a:extLst>
              <a:ext uri="{FF2B5EF4-FFF2-40B4-BE49-F238E27FC236}">
                <a16:creationId xmlns:a16="http://schemas.microsoft.com/office/drawing/2014/main" id="{EED855E8-1024-31F1-786D-4E3DA9216429}"/>
              </a:ext>
            </a:extLst>
          </p:cNvPr>
          <p:cNvSpPr>
            <a:spLocks noEditPoints="1"/>
          </p:cNvSpPr>
          <p:nvPr/>
        </p:nvSpPr>
        <p:spPr bwMode="auto">
          <a:xfrm>
            <a:off x="1151022" y="3912804"/>
            <a:ext cx="186129" cy="186129"/>
          </a:xfrm>
          <a:custGeom>
            <a:avLst/>
            <a:gdLst>
              <a:gd name="T0" fmla="*/ 0 w 464"/>
              <a:gd name="T1" fmla="*/ 242 h 484"/>
              <a:gd name="T2" fmla="*/ 18 w 464"/>
              <a:gd name="T3" fmla="*/ 150 h 484"/>
              <a:gd name="T4" fmla="*/ 67 w 464"/>
              <a:gd name="T5" fmla="*/ 74 h 484"/>
              <a:gd name="T6" fmla="*/ 141 w 464"/>
              <a:gd name="T7" fmla="*/ 22 h 484"/>
              <a:gd name="T8" fmla="*/ 233 w 464"/>
              <a:gd name="T9" fmla="*/ 1 h 484"/>
              <a:gd name="T10" fmla="*/ 252 w 464"/>
              <a:gd name="T11" fmla="*/ 13 h 484"/>
              <a:gd name="T12" fmla="*/ 247 w 464"/>
              <a:gd name="T13" fmla="*/ 36 h 484"/>
              <a:gd name="T14" fmla="*/ 206 w 464"/>
              <a:gd name="T15" fmla="*/ 93 h 484"/>
              <a:gd name="T16" fmla="*/ 192 w 464"/>
              <a:gd name="T17" fmla="*/ 162 h 484"/>
              <a:gd name="T18" fmla="*/ 215 w 464"/>
              <a:gd name="T19" fmla="*/ 248 h 484"/>
              <a:gd name="T20" fmla="*/ 277 w 464"/>
              <a:gd name="T21" fmla="*/ 310 h 484"/>
              <a:gd name="T22" fmla="*/ 363 w 464"/>
              <a:gd name="T23" fmla="*/ 333 h 484"/>
              <a:gd name="T24" fmla="*/ 435 w 464"/>
              <a:gd name="T25" fmla="*/ 317 h 484"/>
              <a:gd name="T26" fmla="*/ 457 w 464"/>
              <a:gd name="T27" fmla="*/ 321 h 484"/>
              <a:gd name="T28" fmla="*/ 463 w 464"/>
              <a:gd name="T29" fmla="*/ 332 h 484"/>
              <a:gd name="T30" fmla="*/ 461 w 464"/>
              <a:gd name="T31" fmla="*/ 344 h 484"/>
              <a:gd name="T32" fmla="*/ 372 w 464"/>
              <a:gd name="T33" fmla="*/ 446 h 484"/>
              <a:gd name="T34" fmla="*/ 242 w 464"/>
              <a:gd name="T35" fmla="*/ 484 h 484"/>
              <a:gd name="T36" fmla="*/ 148 w 464"/>
              <a:gd name="T37" fmla="*/ 465 h 484"/>
              <a:gd name="T38" fmla="*/ 71 w 464"/>
              <a:gd name="T39" fmla="*/ 413 h 484"/>
              <a:gd name="T40" fmla="*/ 19 w 464"/>
              <a:gd name="T41" fmla="*/ 336 h 484"/>
              <a:gd name="T42" fmla="*/ 0 w 464"/>
              <a:gd name="T43" fmla="*/ 242 h 484"/>
              <a:gd name="T44" fmla="*/ 40 w 464"/>
              <a:gd name="T45" fmla="*/ 242 h 484"/>
              <a:gd name="T46" fmla="*/ 56 w 464"/>
              <a:gd name="T47" fmla="*/ 321 h 484"/>
              <a:gd name="T48" fmla="*/ 99 w 464"/>
              <a:gd name="T49" fmla="*/ 385 h 484"/>
              <a:gd name="T50" fmla="*/ 164 w 464"/>
              <a:gd name="T51" fmla="*/ 428 h 484"/>
              <a:gd name="T52" fmla="*/ 242 w 464"/>
              <a:gd name="T53" fmla="*/ 444 h 484"/>
              <a:gd name="T54" fmla="*/ 328 w 464"/>
              <a:gd name="T55" fmla="*/ 425 h 484"/>
              <a:gd name="T56" fmla="*/ 398 w 464"/>
              <a:gd name="T57" fmla="*/ 371 h 484"/>
              <a:gd name="T58" fmla="*/ 363 w 464"/>
              <a:gd name="T59" fmla="*/ 373 h 484"/>
              <a:gd name="T60" fmla="*/ 257 w 464"/>
              <a:gd name="T61" fmla="*/ 345 h 484"/>
              <a:gd name="T62" fmla="*/ 180 w 464"/>
              <a:gd name="T63" fmla="*/ 268 h 484"/>
              <a:gd name="T64" fmla="*/ 151 w 464"/>
              <a:gd name="T65" fmla="*/ 162 h 484"/>
              <a:gd name="T66" fmla="*/ 184 w 464"/>
              <a:gd name="T67" fmla="*/ 49 h 484"/>
              <a:gd name="T68" fmla="*/ 81 w 464"/>
              <a:gd name="T69" fmla="*/ 121 h 484"/>
              <a:gd name="T70" fmla="*/ 40 w 464"/>
              <a:gd name="T71" fmla="*/ 242 h 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464" h="484">
                <a:moveTo>
                  <a:pt x="0" y="242"/>
                </a:moveTo>
                <a:cubicBezTo>
                  <a:pt x="0" y="210"/>
                  <a:pt x="6" y="179"/>
                  <a:pt x="18" y="150"/>
                </a:cubicBezTo>
                <a:cubicBezTo>
                  <a:pt x="30" y="121"/>
                  <a:pt x="47" y="96"/>
                  <a:pt x="67" y="74"/>
                </a:cubicBezTo>
                <a:cubicBezTo>
                  <a:pt x="88" y="53"/>
                  <a:pt x="113" y="35"/>
                  <a:pt x="141" y="22"/>
                </a:cubicBezTo>
                <a:cubicBezTo>
                  <a:pt x="170" y="9"/>
                  <a:pt x="201" y="2"/>
                  <a:pt x="233" y="1"/>
                </a:cubicBezTo>
                <a:cubicBezTo>
                  <a:pt x="242" y="0"/>
                  <a:pt x="248" y="4"/>
                  <a:pt x="252" y="13"/>
                </a:cubicBezTo>
                <a:cubicBezTo>
                  <a:pt x="256" y="22"/>
                  <a:pt x="254" y="29"/>
                  <a:pt x="247" y="36"/>
                </a:cubicBezTo>
                <a:cubicBezTo>
                  <a:pt x="229" y="52"/>
                  <a:pt x="215" y="71"/>
                  <a:pt x="206" y="93"/>
                </a:cubicBezTo>
                <a:cubicBezTo>
                  <a:pt x="196" y="115"/>
                  <a:pt x="192" y="138"/>
                  <a:pt x="192" y="162"/>
                </a:cubicBezTo>
                <a:cubicBezTo>
                  <a:pt x="192" y="193"/>
                  <a:pt x="199" y="221"/>
                  <a:pt x="215" y="248"/>
                </a:cubicBezTo>
                <a:cubicBezTo>
                  <a:pt x="230" y="274"/>
                  <a:pt x="251" y="295"/>
                  <a:pt x="277" y="310"/>
                </a:cubicBezTo>
                <a:cubicBezTo>
                  <a:pt x="303" y="325"/>
                  <a:pt x="332" y="333"/>
                  <a:pt x="363" y="333"/>
                </a:cubicBezTo>
                <a:cubicBezTo>
                  <a:pt x="388" y="333"/>
                  <a:pt x="412" y="328"/>
                  <a:pt x="435" y="317"/>
                </a:cubicBezTo>
                <a:cubicBezTo>
                  <a:pt x="443" y="313"/>
                  <a:pt x="451" y="315"/>
                  <a:pt x="457" y="321"/>
                </a:cubicBezTo>
                <a:cubicBezTo>
                  <a:pt x="460" y="324"/>
                  <a:pt x="462" y="328"/>
                  <a:pt x="463" y="332"/>
                </a:cubicBezTo>
                <a:cubicBezTo>
                  <a:pt x="464" y="336"/>
                  <a:pt x="463" y="340"/>
                  <a:pt x="461" y="344"/>
                </a:cubicBezTo>
                <a:cubicBezTo>
                  <a:pt x="442" y="386"/>
                  <a:pt x="412" y="420"/>
                  <a:pt x="372" y="446"/>
                </a:cubicBezTo>
                <a:cubicBezTo>
                  <a:pt x="332" y="471"/>
                  <a:pt x="289" y="484"/>
                  <a:pt x="242" y="484"/>
                </a:cubicBezTo>
                <a:cubicBezTo>
                  <a:pt x="209" y="484"/>
                  <a:pt x="178" y="478"/>
                  <a:pt x="148" y="465"/>
                </a:cubicBezTo>
                <a:cubicBezTo>
                  <a:pt x="118" y="452"/>
                  <a:pt x="93" y="435"/>
                  <a:pt x="71" y="413"/>
                </a:cubicBezTo>
                <a:cubicBezTo>
                  <a:pt x="49" y="392"/>
                  <a:pt x="32" y="366"/>
                  <a:pt x="19" y="336"/>
                </a:cubicBezTo>
                <a:cubicBezTo>
                  <a:pt x="6" y="306"/>
                  <a:pt x="0" y="275"/>
                  <a:pt x="0" y="242"/>
                </a:cubicBezTo>
                <a:close/>
                <a:moveTo>
                  <a:pt x="40" y="242"/>
                </a:moveTo>
                <a:cubicBezTo>
                  <a:pt x="40" y="270"/>
                  <a:pt x="46" y="296"/>
                  <a:pt x="56" y="321"/>
                </a:cubicBezTo>
                <a:cubicBezTo>
                  <a:pt x="67" y="345"/>
                  <a:pt x="81" y="367"/>
                  <a:pt x="99" y="385"/>
                </a:cubicBezTo>
                <a:cubicBezTo>
                  <a:pt x="117" y="403"/>
                  <a:pt x="139" y="417"/>
                  <a:pt x="164" y="428"/>
                </a:cubicBezTo>
                <a:cubicBezTo>
                  <a:pt x="189" y="439"/>
                  <a:pt x="215" y="444"/>
                  <a:pt x="242" y="444"/>
                </a:cubicBezTo>
                <a:cubicBezTo>
                  <a:pt x="272" y="444"/>
                  <a:pt x="301" y="437"/>
                  <a:pt x="328" y="425"/>
                </a:cubicBezTo>
                <a:cubicBezTo>
                  <a:pt x="355" y="412"/>
                  <a:pt x="378" y="394"/>
                  <a:pt x="398" y="371"/>
                </a:cubicBezTo>
                <a:cubicBezTo>
                  <a:pt x="386" y="372"/>
                  <a:pt x="375" y="373"/>
                  <a:pt x="363" y="373"/>
                </a:cubicBezTo>
                <a:cubicBezTo>
                  <a:pt x="325" y="373"/>
                  <a:pt x="289" y="364"/>
                  <a:pt x="257" y="345"/>
                </a:cubicBezTo>
                <a:cubicBezTo>
                  <a:pt x="224" y="326"/>
                  <a:pt x="198" y="300"/>
                  <a:pt x="180" y="268"/>
                </a:cubicBezTo>
                <a:cubicBezTo>
                  <a:pt x="161" y="235"/>
                  <a:pt x="151" y="200"/>
                  <a:pt x="151" y="162"/>
                </a:cubicBezTo>
                <a:cubicBezTo>
                  <a:pt x="151" y="121"/>
                  <a:pt x="162" y="84"/>
                  <a:pt x="184" y="49"/>
                </a:cubicBezTo>
                <a:cubicBezTo>
                  <a:pt x="142" y="62"/>
                  <a:pt x="107" y="86"/>
                  <a:pt x="81" y="121"/>
                </a:cubicBezTo>
                <a:cubicBezTo>
                  <a:pt x="54" y="157"/>
                  <a:pt x="40" y="197"/>
                  <a:pt x="40" y="242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7929163F-A3F3-C534-97ED-8A2393FF2018}"/>
              </a:ext>
            </a:extLst>
          </p:cNvPr>
          <p:cNvSpPr/>
          <p:nvPr/>
        </p:nvSpPr>
        <p:spPr>
          <a:xfrm>
            <a:off x="1405910" y="4292075"/>
            <a:ext cx="663480" cy="266735"/>
          </a:xfrm>
          <a:prstGeom prst="rect">
            <a:avLst/>
          </a:prstGeom>
          <a:pattFill prst="wdUpDiag">
            <a:fgClr>
              <a:schemeClr val="accent1">
                <a:lumMod val="40000"/>
                <a:lumOff val="6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de-DE" sz="1400"/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994604D4-064E-3B56-2E44-C367E95B54E5}"/>
              </a:ext>
            </a:extLst>
          </p:cNvPr>
          <p:cNvSpPr txBox="1"/>
          <p:nvPr/>
        </p:nvSpPr>
        <p:spPr>
          <a:xfrm>
            <a:off x="577599" y="2477240"/>
            <a:ext cx="2282190" cy="4998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r>
              <a:rPr lang="de-DE" sz="1400" b="1">
                <a:solidFill>
                  <a:srgbClr val="1B4379"/>
                </a:solidFill>
              </a:rPr>
              <a:t>Einspeiseverbot </a:t>
            </a:r>
            <a:br>
              <a:rPr lang="de-DE" sz="1400" b="1">
                <a:solidFill>
                  <a:srgbClr val="1B4379"/>
                </a:solidFill>
              </a:rPr>
            </a:br>
            <a:r>
              <a:rPr lang="de-DE" sz="1400" b="1">
                <a:solidFill>
                  <a:srgbClr val="1B4379"/>
                </a:solidFill>
              </a:rPr>
              <a:t>bei hoher PV-Einspeisung</a:t>
            </a:r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F8A13344-3A3E-0A35-2E6A-B76C342D629B}"/>
              </a:ext>
            </a:extLst>
          </p:cNvPr>
          <p:cNvSpPr txBox="1"/>
          <p:nvPr/>
        </p:nvSpPr>
        <p:spPr>
          <a:xfrm>
            <a:off x="2822166" y="3123635"/>
            <a:ext cx="2893343" cy="24634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defTabSz="540000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de-DE" sz="1400">
                <a:solidFill>
                  <a:schemeClr val="accent1">
                    <a:lumMod val="75000"/>
                  </a:schemeClr>
                </a:solidFill>
              </a:rPr>
              <a:t>Zeiträume werden statisch definiert</a:t>
            </a:r>
          </a:p>
          <a:p>
            <a:pPr marL="171450" indent="-171450" defTabSz="540000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de-DE" sz="1400">
                <a:solidFill>
                  <a:schemeClr val="accent1">
                    <a:lumMod val="75000"/>
                  </a:schemeClr>
                </a:solidFill>
              </a:rPr>
              <a:t>planbare und transparente Nutzung freier Netzkapazitäten, ohne eine kontinuierliche Anpassung der Fahrweise</a:t>
            </a:r>
          </a:p>
          <a:p>
            <a:pPr marL="171450" indent="-171450" defTabSz="540000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de-DE" sz="1400">
                <a:solidFill>
                  <a:schemeClr val="accent1">
                    <a:lumMod val="75000"/>
                  </a:schemeClr>
                </a:solidFill>
              </a:rPr>
              <a:t>Einfach und sofort umsetzbar </a:t>
            </a:r>
          </a:p>
          <a:p>
            <a:pPr marL="171450" indent="-171450" defTabSz="540000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de-DE" sz="1400">
                <a:solidFill>
                  <a:schemeClr val="accent1">
                    <a:lumMod val="75000"/>
                  </a:schemeClr>
                </a:solidFill>
              </a:rPr>
              <a:t>Ermöglicht bereits Biogas-FCA-Anschluss in Vielzahl von PV-getriebenen Netzen</a:t>
            </a:r>
          </a:p>
        </p:txBody>
      </p:sp>
      <p:grpSp>
        <p:nvGrpSpPr>
          <p:cNvPr id="73" name="Gruppieren 72">
            <a:extLst>
              <a:ext uri="{FF2B5EF4-FFF2-40B4-BE49-F238E27FC236}">
                <a16:creationId xmlns:a16="http://schemas.microsoft.com/office/drawing/2014/main" id="{49CFEB0C-3FE8-B8DC-D433-6C9E3A29E73E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152862" y="4368990"/>
            <a:ext cx="138135" cy="138135"/>
            <a:chOff x="6096000" y="3429000"/>
            <a:chExt cx="254000" cy="254000"/>
          </a:xfrm>
          <a:solidFill>
            <a:schemeClr val="bg2"/>
          </a:solidFill>
        </p:grpSpPr>
        <p:sp>
          <p:nvSpPr>
            <p:cNvPr id="71" name="box" hidden="1">
              <a:extLst>
                <a:ext uri="{FF2B5EF4-FFF2-40B4-BE49-F238E27FC236}">
                  <a16:creationId xmlns:a16="http://schemas.microsoft.com/office/drawing/2014/main" id="{8F1E2868-D663-85E1-8725-FF08B7DADB14}"/>
                </a:ext>
              </a:extLst>
            </p:cNvPr>
            <p:cNvSpPr/>
            <p:nvPr/>
          </p:nvSpPr>
          <p:spPr>
            <a:xfrm>
              <a:off x="6096000" y="3429000"/>
              <a:ext cx="254000" cy="254000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9525">
              <a:solidFill>
                <a:srgbClr val="539F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 defTabSz="540000">
                <a:lnSpc>
                  <a:spcPct val="120000"/>
                </a:lnSpc>
                <a:spcAft>
                  <a:spcPts val="400"/>
                </a:spcAft>
              </a:pPr>
              <a:endParaRPr lang="de-DE" sz="1400"/>
            </a:p>
          </p:txBody>
        </p:sp>
        <p:sp>
          <p:nvSpPr>
            <p:cNvPr id="72" name="0">
              <a:extLst>
                <a:ext uri="{FF2B5EF4-FFF2-40B4-BE49-F238E27FC236}">
                  <a16:creationId xmlns:a16="http://schemas.microsoft.com/office/drawing/2014/main" id="{1FA5DFCD-C587-FA36-3C1E-49F46C09D779}"/>
                </a:ext>
              </a:extLst>
            </p:cNvPr>
            <p:cNvSpPr/>
            <p:nvPr/>
          </p:nvSpPr>
          <p:spPr>
            <a:xfrm>
              <a:off x="6121400" y="3477244"/>
              <a:ext cx="203200" cy="157512"/>
            </a:xfrm>
            <a:custGeom>
              <a:avLst/>
              <a:gdLst>
                <a:gd name="csX0" fmla="*/ 230669 w 254000"/>
                <a:gd name="csY0" fmla="*/ 0 h 196890"/>
                <a:gd name="csX1" fmla="*/ 254000 w 254000"/>
                <a:gd name="csY1" fmla="*/ 36032 h 196890"/>
                <a:gd name="csX2" fmla="*/ 92548 w 254000"/>
                <a:gd name="csY2" fmla="*/ 196890 h 196890"/>
                <a:gd name="csX3" fmla="*/ 0 w 254000"/>
                <a:gd name="csY3" fmla="*/ 104343 h 196890"/>
                <a:gd name="csX4" fmla="*/ 35135 w 254000"/>
                <a:gd name="csY4" fmla="*/ 69209 h 196890"/>
                <a:gd name="csX5" fmla="*/ 92571 w 254000"/>
                <a:gd name="csY5" fmla="*/ 126645 h 196890"/>
                <a:gd name="csX0" fmla="*/ 217969 w 254000"/>
                <a:gd name="csY0" fmla="*/ 0 h 196890"/>
                <a:gd name="csX1" fmla="*/ 254000 w 254000"/>
                <a:gd name="csY1" fmla="*/ 36032 h 196890"/>
                <a:gd name="csX2" fmla="*/ 92548 w 254000"/>
                <a:gd name="csY2" fmla="*/ 196890 h 196890"/>
                <a:gd name="csX3" fmla="*/ 0 w 254000"/>
                <a:gd name="csY3" fmla="*/ 104343 h 196890"/>
                <a:gd name="csX4" fmla="*/ 35135 w 254000"/>
                <a:gd name="csY4" fmla="*/ 69209 h 196890"/>
                <a:gd name="csX5" fmla="*/ 92571 w 254000"/>
                <a:gd name="csY5" fmla="*/ 126645 h 19689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</a:cxnLst>
              <a:rect l="l" t="t" r="r" b="b"/>
              <a:pathLst>
                <a:path w="254000" h="196890">
                  <a:moveTo>
                    <a:pt x="217969" y="0"/>
                  </a:moveTo>
                  <a:lnTo>
                    <a:pt x="254000" y="36032"/>
                  </a:lnTo>
                  <a:lnTo>
                    <a:pt x="92548" y="196890"/>
                  </a:lnTo>
                  <a:lnTo>
                    <a:pt x="0" y="104343"/>
                  </a:lnTo>
                  <a:lnTo>
                    <a:pt x="35135" y="69209"/>
                  </a:lnTo>
                  <a:lnTo>
                    <a:pt x="92571" y="126645"/>
                  </a:lnTo>
                  <a:close/>
                </a:path>
              </a:pathLst>
            </a:custGeom>
            <a:solidFill>
              <a:srgbClr val="539F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 defTabSz="540000">
                <a:lnSpc>
                  <a:spcPct val="120000"/>
                </a:lnSpc>
                <a:spcAft>
                  <a:spcPts val="400"/>
                </a:spcAft>
              </a:pPr>
              <a:endParaRPr lang="de-DE" sz="1400"/>
            </a:p>
          </p:txBody>
        </p:sp>
      </p:grp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FDCD7DC7-0519-4D4D-822A-3A75DF77951F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2113586" y="4366711"/>
            <a:ext cx="138135" cy="138135"/>
            <a:chOff x="6096000" y="3429000"/>
            <a:chExt cx="254000" cy="254000"/>
          </a:xfrm>
          <a:solidFill>
            <a:schemeClr val="bg2"/>
          </a:solidFill>
        </p:grpSpPr>
        <p:sp>
          <p:nvSpPr>
            <p:cNvPr id="76" name="box" hidden="1">
              <a:extLst>
                <a:ext uri="{FF2B5EF4-FFF2-40B4-BE49-F238E27FC236}">
                  <a16:creationId xmlns:a16="http://schemas.microsoft.com/office/drawing/2014/main" id="{5A67851D-4750-238C-7566-E6D56D2DAAAC}"/>
                </a:ext>
              </a:extLst>
            </p:cNvPr>
            <p:cNvSpPr/>
            <p:nvPr/>
          </p:nvSpPr>
          <p:spPr>
            <a:xfrm>
              <a:off x="6096000" y="3429000"/>
              <a:ext cx="254000" cy="254000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9525">
              <a:solidFill>
                <a:srgbClr val="539F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 defTabSz="540000">
                <a:lnSpc>
                  <a:spcPct val="120000"/>
                </a:lnSpc>
                <a:spcAft>
                  <a:spcPts val="400"/>
                </a:spcAft>
              </a:pPr>
              <a:endParaRPr lang="de-DE" sz="1400"/>
            </a:p>
          </p:txBody>
        </p:sp>
        <p:sp>
          <p:nvSpPr>
            <p:cNvPr id="77" name="0">
              <a:extLst>
                <a:ext uri="{FF2B5EF4-FFF2-40B4-BE49-F238E27FC236}">
                  <a16:creationId xmlns:a16="http://schemas.microsoft.com/office/drawing/2014/main" id="{C42D7988-9FA4-E9D1-3115-C62DAFB9D2F8}"/>
                </a:ext>
              </a:extLst>
            </p:cNvPr>
            <p:cNvSpPr/>
            <p:nvPr/>
          </p:nvSpPr>
          <p:spPr>
            <a:xfrm>
              <a:off x="6121400" y="3477244"/>
              <a:ext cx="203200" cy="157512"/>
            </a:xfrm>
            <a:custGeom>
              <a:avLst/>
              <a:gdLst>
                <a:gd name="csX0" fmla="*/ 230669 w 254000"/>
                <a:gd name="csY0" fmla="*/ 0 h 196890"/>
                <a:gd name="csX1" fmla="*/ 254000 w 254000"/>
                <a:gd name="csY1" fmla="*/ 36032 h 196890"/>
                <a:gd name="csX2" fmla="*/ 92548 w 254000"/>
                <a:gd name="csY2" fmla="*/ 196890 h 196890"/>
                <a:gd name="csX3" fmla="*/ 0 w 254000"/>
                <a:gd name="csY3" fmla="*/ 104343 h 196890"/>
                <a:gd name="csX4" fmla="*/ 35135 w 254000"/>
                <a:gd name="csY4" fmla="*/ 69209 h 196890"/>
                <a:gd name="csX5" fmla="*/ 92571 w 254000"/>
                <a:gd name="csY5" fmla="*/ 126645 h 196890"/>
                <a:gd name="csX0" fmla="*/ 217969 w 254000"/>
                <a:gd name="csY0" fmla="*/ 0 h 196890"/>
                <a:gd name="csX1" fmla="*/ 254000 w 254000"/>
                <a:gd name="csY1" fmla="*/ 36032 h 196890"/>
                <a:gd name="csX2" fmla="*/ 92548 w 254000"/>
                <a:gd name="csY2" fmla="*/ 196890 h 196890"/>
                <a:gd name="csX3" fmla="*/ 0 w 254000"/>
                <a:gd name="csY3" fmla="*/ 104343 h 196890"/>
                <a:gd name="csX4" fmla="*/ 35135 w 254000"/>
                <a:gd name="csY4" fmla="*/ 69209 h 196890"/>
                <a:gd name="csX5" fmla="*/ 92571 w 254000"/>
                <a:gd name="csY5" fmla="*/ 126645 h 19689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</a:cxnLst>
              <a:rect l="l" t="t" r="r" b="b"/>
              <a:pathLst>
                <a:path w="254000" h="196890">
                  <a:moveTo>
                    <a:pt x="217969" y="0"/>
                  </a:moveTo>
                  <a:lnTo>
                    <a:pt x="254000" y="36032"/>
                  </a:lnTo>
                  <a:lnTo>
                    <a:pt x="92548" y="196890"/>
                  </a:lnTo>
                  <a:lnTo>
                    <a:pt x="0" y="104343"/>
                  </a:lnTo>
                  <a:lnTo>
                    <a:pt x="35135" y="69209"/>
                  </a:lnTo>
                  <a:lnTo>
                    <a:pt x="92571" y="126645"/>
                  </a:lnTo>
                  <a:close/>
                </a:path>
              </a:pathLst>
            </a:custGeom>
            <a:solidFill>
              <a:srgbClr val="539F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 defTabSz="540000">
                <a:lnSpc>
                  <a:spcPct val="120000"/>
                </a:lnSpc>
                <a:spcAft>
                  <a:spcPts val="400"/>
                </a:spcAft>
              </a:pPr>
              <a:endParaRPr lang="de-DE" sz="1400"/>
            </a:p>
          </p:txBody>
        </p:sp>
      </p:grpSp>
      <p:sp>
        <p:nvSpPr>
          <p:cNvPr id="155" name="ee4p_icon">
            <a:extLst>
              <a:ext uri="{FF2B5EF4-FFF2-40B4-BE49-F238E27FC236}">
                <a16:creationId xmlns:a16="http://schemas.microsoft.com/office/drawing/2014/main" id="{D271124B-4B07-6AF7-A9D6-52F87C5E1736}"/>
              </a:ext>
            </a:extLst>
          </p:cNvPr>
          <p:cNvSpPr>
            <a:spLocks noChangeAspect="1"/>
          </p:cNvSpPr>
          <p:nvPr/>
        </p:nvSpPr>
        <p:spPr>
          <a:xfrm>
            <a:off x="776402" y="3656941"/>
            <a:ext cx="215258" cy="206206"/>
          </a:xfrm>
          <a:custGeom>
            <a:avLst/>
            <a:gdLst>
              <a:gd name="connsiteX0" fmla="*/ 1006246 w 1016406"/>
              <a:gd name="connsiteY0" fmla="*/ 855506 h 973666"/>
              <a:gd name="connsiteX1" fmla="*/ 886460 w 1016406"/>
              <a:gd name="connsiteY1" fmla="*/ 855506 h 973666"/>
              <a:gd name="connsiteX2" fmla="*/ 886460 w 1016406"/>
              <a:gd name="connsiteY2" fmla="*/ 378257 h 973666"/>
              <a:gd name="connsiteX3" fmla="*/ 508203 w 1016406"/>
              <a:gd name="connsiteY3" fmla="*/ 0 h 973666"/>
              <a:gd name="connsiteX4" fmla="*/ 129946 w 1016406"/>
              <a:gd name="connsiteY4" fmla="*/ 378257 h 973666"/>
              <a:gd name="connsiteX5" fmla="*/ 129946 w 1016406"/>
              <a:gd name="connsiteY5" fmla="*/ 855777 h 973666"/>
              <a:gd name="connsiteX6" fmla="*/ 10160 w 1016406"/>
              <a:gd name="connsiteY6" fmla="*/ 855777 h 973666"/>
              <a:gd name="connsiteX7" fmla="*/ 0 w 1016406"/>
              <a:gd name="connsiteY7" fmla="*/ 865937 h 973666"/>
              <a:gd name="connsiteX8" fmla="*/ 0 w 1016406"/>
              <a:gd name="connsiteY8" fmla="*/ 963507 h 973666"/>
              <a:gd name="connsiteX9" fmla="*/ 10160 w 1016406"/>
              <a:gd name="connsiteY9" fmla="*/ 973667 h 973666"/>
              <a:gd name="connsiteX10" fmla="*/ 1006246 w 1016406"/>
              <a:gd name="connsiteY10" fmla="*/ 973667 h 973666"/>
              <a:gd name="connsiteX11" fmla="*/ 1016406 w 1016406"/>
              <a:gd name="connsiteY11" fmla="*/ 963507 h 973666"/>
              <a:gd name="connsiteX12" fmla="*/ 1016406 w 1016406"/>
              <a:gd name="connsiteY12" fmla="*/ 865666 h 973666"/>
              <a:gd name="connsiteX13" fmla="*/ 1006246 w 1016406"/>
              <a:gd name="connsiteY13" fmla="*/ 855506 h 973666"/>
              <a:gd name="connsiteX14" fmla="*/ 866140 w 1016406"/>
              <a:gd name="connsiteY14" fmla="*/ 855506 h 973666"/>
              <a:gd name="connsiteX15" fmla="*/ 752043 w 1016406"/>
              <a:gd name="connsiteY15" fmla="*/ 855506 h 973666"/>
              <a:gd name="connsiteX16" fmla="*/ 752043 w 1016406"/>
              <a:gd name="connsiteY16" fmla="*/ 667309 h 973666"/>
              <a:gd name="connsiteX17" fmla="*/ 866174 w 1016406"/>
              <a:gd name="connsiteY17" fmla="*/ 500753 h 973666"/>
              <a:gd name="connsiteX18" fmla="*/ 150266 w 1016406"/>
              <a:gd name="connsiteY18" fmla="*/ 500482 h 973666"/>
              <a:gd name="connsiteX19" fmla="*/ 265582 w 1016406"/>
              <a:gd name="connsiteY19" fmla="*/ 668088 h 973666"/>
              <a:gd name="connsiteX20" fmla="*/ 265582 w 1016406"/>
              <a:gd name="connsiteY20" fmla="*/ 855506 h 973666"/>
              <a:gd name="connsiteX21" fmla="*/ 150436 w 1016406"/>
              <a:gd name="connsiteY21" fmla="*/ 855506 h 973666"/>
              <a:gd name="connsiteX22" fmla="*/ 498043 w 1016406"/>
              <a:gd name="connsiteY22" fmla="*/ 855506 h 973666"/>
              <a:gd name="connsiteX23" fmla="*/ 285902 w 1016406"/>
              <a:gd name="connsiteY23" fmla="*/ 855506 h 973666"/>
              <a:gd name="connsiteX24" fmla="*/ 285902 w 1016406"/>
              <a:gd name="connsiteY24" fmla="*/ 684005 h 973666"/>
              <a:gd name="connsiteX25" fmla="*/ 498043 w 1016406"/>
              <a:gd name="connsiteY25" fmla="*/ 756243 h 973666"/>
              <a:gd name="connsiteX26" fmla="*/ 996086 w 1016406"/>
              <a:gd name="connsiteY26" fmla="*/ 953076 h 973666"/>
              <a:gd name="connsiteX27" fmla="*/ 20320 w 1016406"/>
              <a:gd name="connsiteY27" fmla="*/ 953076 h 973666"/>
              <a:gd name="connsiteX28" fmla="*/ 20320 w 1016406"/>
              <a:gd name="connsiteY28" fmla="*/ 875826 h 973666"/>
              <a:gd name="connsiteX29" fmla="*/ 648648 w 1016406"/>
              <a:gd name="connsiteY29" fmla="*/ 875826 h 973666"/>
              <a:gd name="connsiteX30" fmla="*/ 648648 w 1016406"/>
              <a:gd name="connsiteY30" fmla="*/ 855506 h 973666"/>
              <a:gd name="connsiteX31" fmla="*/ 518363 w 1016406"/>
              <a:gd name="connsiteY31" fmla="*/ 855506 h 973666"/>
              <a:gd name="connsiteX32" fmla="*/ 518363 w 1016406"/>
              <a:gd name="connsiteY32" fmla="*/ 756243 h 973666"/>
              <a:gd name="connsiteX33" fmla="*/ 675538 w 1016406"/>
              <a:gd name="connsiteY33" fmla="*/ 717465 h 973666"/>
              <a:gd name="connsiteX34" fmla="*/ 666530 w 1016406"/>
              <a:gd name="connsiteY34" fmla="*/ 699245 h 973666"/>
              <a:gd name="connsiteX35" fmla="*/ 518363 w 1016406"/>
              <a:gd name="connsiteY35" fmla="*/ 735923 h 973666"/>
              <a:gd name="connsiteX36" fmla="*/ 518363 w 1016406"/>
              <a:gd name="connsiteY36" fmla="*/ 378257 h 973666"/>
              <a:gd name="connsiteX37" fmla="*/ 498043 w 1016406"/>
              <a:gd name="connsiteY37" fmla="*/ 378257 h 973666"/>
              <a:gd name="connsiteX38" fmla="*/ 498043 w 1016406"/>
              <a:gd name="connsiteY38" fmla="*/ 735923 h 973666"/>
              <a:gd name="connsiteX39" fmla="*/ 285902 w 1016406"/>
              <a:gd name="connsiteY39" fmla="*/ 658470 h 973666"/>
              <a:gd name="connsiteX40" fmla="*/ 285902 w 1016406"/>
              <a:gd name="connsiteY40" fmla="*/ 378257 h 973666"/>
              <a:gd name="connsiteX41" fmla="*/ 265582 w 1016406"/>
              <a:gd name="connsiteY41" fmla="*/ 378257 h 973666"/>
              <a:gd name="connsiteX42" fmla="*/ 265582 w 1016406"/>
              <a:gd name="connsiteY42" fmla="*/ 641062 h 973666"/>
              <a:gd name="connsiteX43" fmla="*/ 245439 w 1016406"/>
              <a:gd name="connsiteY43" fmla="*/ 135408 h 973666"/>
              <a:gd name="connsiteX44" fmla="*/ 751092 w 1016406"/>
              <a:gd name="connsiteY44" fmla="*/ 115264 h 973666"/>
              <a:gd name="connsiteX45" fmla="*/ 771235 w 1016406"/>
              <a:gd name="connsiteY45" fmla="*/ 620918 h 973666"/>
              <a:gd name="connsiteX46" fmla="*/ 752043 w 1016406"/>
              <a:gd name="connsiteY46" fmla="*/ 640182 h 973666"/>
              <a:gd name="connsiteX47" fmla="*/ 752043 w 1016406"/>
              <a:gd name="connsiteY47" fmla="*/ 378257 h 973666"/>
              <a:gd name="connsiteX48" fmla="*/ 731723 w 1016406"/>
              <a:gd name="connsiteY48" fmla="*/ 378257 h 973666"/>
              <a:gd name="connsiteX49" fmla="*/ 731723 w 1016406"/>
              <a:gd name="connsiteY49" fmla="*/ 865937 h 973666"/>
              <a:gd name="connsiteX50" fmla="*/ 741883 w 1016406"/>
              <a:gd name="connsiteY50" fmla="*/ 876097 h 973666"/>
              <a:gd name="connsiteX51" fmla="*/ 996120 w 1016406"/>
              <a:gd name="connsiteY51" fmla="*/ 876097 h 973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016406" h="973666">
                <a:moveTo>
                  <a:pt x="1006246" y="855506"/>
                </a:moveTo>
                <a:lnTo>
                  <a:pt x="886460" y="855506"/>
                </a:lnTo>
                <a:lnTo>
                  <a:pt x="886460" y="378257"/>
                </a:lnTo>
                <a:cubicBezTo>
                  <a:pt x="886460" y="169351"/>
                  <a:pt x="717110" y="0"/>
                  <a:pt x="508203" y="0"/>
                </a:cubicBezTo>
                <a:cubicBezTo>
                  <a:pt x="299298" y="0"/>
                  <a:pt x="129946" y="169351"/>
                  <a:pt x="129946" y="378257"/>
                </a:cubicBezTo>
                <a:lnTo>
                  <a:pt x="129946" y="855777"/>
                </a:lnTo>
                <a:lnTo>
                  <a:pt x="10160" y="855777"/>
                </a:lnTo>
                <a:cubicBezTo>
                  <a:pt x="4549" y="855777"/>
                  <a:pt x="0" y="860325"/>
                  <a:pt x="0" y="865937"/>
                </a:cubicBezTo>
                <a:lnTo>
                  <a:pt x="0" y="963507"/>
                </a:lnTo>
                <a:cubicBezTo>
                  <a:pt x="0" y="969118"/>
                  <a:pt x="4549" y="973667"/>
                  <a:pt x="10160" y="973667"/>
                </a:cubicBezTo>
                <a:lnTo>
                  <a:pt x="1006246" y="973667"/>
                </a:lnTo>
                <a:cubicBezTo>
                  <a:pt x="1011858" y="973667"/>
                  <a:pt x="1016406" y="969118"/>
                  <a:pt x="1016406" y="963507"/>
                </a:cubicBezTo>
                <a:lnTo>
                  <a:pt x="1016406" y="865666"/>
                </a:lnTo>
                <a:cubicBezTo>
                  <a:pt x="1016406" y="860054"/>
                  <a:pt x="1011858" y="855506"/>
                  <a:pt x="1006246" y="855506"/>
                </a:cubicBezTo>
                <a:close/>
                <a:moveTo>
                  <a:pt x="866140" y="855506"/>
                </a:moveTo>
                <a:lnTo>
                  <a:pt x="752043" y="855506"/>
                </a:lnTo>
                <a:lnTo>
                  <a:pt x="752043" y="667309"/>
                </a:lnTo>
                <a:cubicBezTo>
                  <a:pt x="804496" y="623174"/>
                  <a:pt x="843947" y="565600"/>
                  <a:pt x="866174" y="500753"/>
                </a:cubicBezTo>
                <a:close/>
                <a:moveTo>
                  <a:pt x="150266" y="500482"/>
                </a:moveTo>
                <a:cubicBezTo>
                  <a:pt x="172725" y="565810"/>
                  <a:pt x="212599" y="623763"/>
                  <a:pt x="265582" y="668088"/>
                </a:cubicBezTo>
                <a:lnTo>
                  <a:pt x="265582" y="855506"/>
                </a:lnTo>
                <a:lnTo>
                  <a:pt x="150436" y="855506"/>
                </a:lnTo>
                <a:close/>
                <a:moveTo>
                  <a:pt x="498043" y="855506"/>
                </a:moveTo>
                <a:lnTo>
                  <a:pt x="285902" y="855506"/>
                </a:lnTo>
                <a:lnTo>
                  <a:pt x="285902" y="684005"/>
                </a:lnTo>
                <a:cubicBezTo>
                  <a:pt x="347635" y="729078"/>
                  <a:pt x="421633" y="754275"/>
                  <a:pt x="498043" y="756243"/>
                </a:cubicBezTo>
                <a:close/>
                <a:moveTo>
                  <a:pt x="996086" y="953076"/>
                </a:moveTo>
                <a:lnTo>
                  <a:pt x="20320" y="953076"/>
                </a:lnTo>
                <a:lnTo>
                  <a:pt x="20320" y="875826"/>
                </a:lnTo>
                <a:lnTo>
                  <a:pt x="648648" y="875826"/>
                </a:lnTo>
                <a:lnTo>
                  <a:pt x="648648" y="855506"/>
                </a:lnTo>
                <a:lnTo>
                  <a:pt x="518363" y="855506"/>
                </a:lnTo>
                <a:lnTo>
                  <a:pt x="518363" y="756243"/>
                </a:lnTo>
                <a:cubicBezTo>
                  <a:pt x="572960" y="754952"/>
                  <a:pt x="626608" y="741717"/>
                  <a:pt x="675538" y="717465"/>
                </a:cubicBezTo>
                <a:lnTo>
                  <a:pt x="666530" y="699245"/>
                </a:lnTo>
                <a:cubicBezTo>
                  <a:pt x="620404" y="722125"/>
                  <a:pt x="569834" y="734643"/>
                  <a:pt x="518363" y="735923"/>
                </a:cubicBezTo>
                <a:lnTo>
                  <a:pt x="518363" y="378257"/>
                </a:lnTo>
                <a:lnTo>
                  <a:pt x="498043" y="378257"/>
                </a:lnTo>
                <a:lnTo>
                  <a:pt x="498043" y="735923"/>
                </a:lnTo>
                <a:cubicBezTo>
                  <a:pt x="420797" y="733809"/>
                  <a:pt x="346337" y="706625"/>
                  <a:pt x="285902" y="658470"/>
                </a:cubicBezTo>
                <a:lnTo>
                  <a:pt x="285902" y="378257"/>
                </a:lnTo>
                <a:lnTo>
                  <a:pt x="265582" y="378257"/>
                </a:lnTo>
                <a:lnTo>
                  <a:pt x="265582" y="641062"/>
                </a:lnTo>
                <a:cubicBezTo>
                  <a:pt x="120387" y="506991"/>
                  <a:pt x="111369" y="280603"/>
                  <a:pt x="245439" y="135408"/>
                </a:cubicBezTo>
                <a:cubicBezTo>
                  <a:pt x="379510" y="-9787"/>
                  <a:pt x="605898" y="-18806"/>
                  <a:pt x="751092" y="115264"/>
                </a:cubicBezTo>
                <a:cubicBezTo>
                  <a:pt x="896288" y="249334"/>
                  <a:pt x="905307" y="475725"/>
                  <a:pt x="771235" y="620918"/>
                </a:cubicBezTo>
                <a:cubicBezTo>
                  <a:pt x="765085" y="627580"/>
                  <a:pt x="758684" y="634008"/>
                  <a:pt x="752043" y="640182"/>
                </a:cubicBezTo>
                <a:lnTo>
                  <a:pt x="752043" y="378257"/>
                </a:lnTo>
                <a:lnTo>
                  <a:pt x="731723" y="378257"/>
                </a:lnTo>
                <a:lnTo>
                  <a:pt x="731723" y="865937"/>
                </a:lnTo>
                <a:cubicBezTo>
                  <a:pt x="731723" y="871549"/>
                  <a:pt x="736272" y="876097"/>
                  <a:pt x="741883" y="876097"/>
                </a:cubicBezTo>
                <a:lnTo>
                  <a:pt x="996120" y="876097"/>
                </a:lnTo>
                <a:close/>
              </a:path>
            </a:pathLst>
          </a:custGeom>
          <a:solidFill>
            <a:schemeClr val="accent2"/>
          </a:solidFill>
          <a:ln w="336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EON Brix Sans"/>
            </a:endParaRP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26CDF962-0604-BF3B-D935-2B93B91A5D29}"/>
              </a:ext>
            </a:extLst>
          </p:cNvPr>
          <p:cNvSpPr txBox="1"/>
          <p:nvPr/>
        </p:nvSpPr>
        <p:spPr>
          <a:xfrm>
            <a:off x="3315096" y="2477240"/>
            <a:ext cx="2597416" cy="4998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r>
              <a:rPr lang="de-DE" sz="1400" b="1">
                <a:solidFill>
                  <a:srgbClr val="1B4379"/>
                </a:solidFill>
              </a:rPr>
              <a:t>Ziel „</a:t>
            </a:r>
            <a:r>
              <a:rPr lang="de-DE" sz="1400" b="1" i="1">
                <a:solidFill>
                  <a:srgbClr val="1B4379"/>
                </a:solidFill>
              </a:rPr>
              <a:t>Einfache Lösung </a:t>
            </a:r>
            <a:br>
              <a:rPr lang="de-DE" sz="1400" b="1" i="1">
                <a:solidFill>
                  <a:srgbClr val="1B4379"/>
                </a:solidFill>
              </a:rPr>
            </a:br>
            <a:r>
              <a:rPr lang="de-DE" sz="1400" b="1" i="1">
                <a:solidFill>
                  <a:srgbClr val="1B4379"/>
                </a:solidFill>
              </a:rPr>
              <a:t>für Vielzahl an PV-Netzen“</a:t>
            </a:r>
          </a:p>
        </p:txBody>
      </p:sp>
      <p:sp>
        <p:nvSpPr>
          <p:cNvPr id="3" name="Inhaltsplatzhalter 5">
            <a:extLst>
              <a:ext uri="{FF2B5EF4-FFF2-40B4-BE49-F238E27FC236}">
                <a16:creationId xmlns:a16="http://schemas.microsoft.com/office/drawing/2014/main" id="{19F3E0A8-0BB7-E900-DF0C-EBF0D4B8A99E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095999" y="2107370"/>
            <a:ext cx="5221555" cy="3768853"/>
          </a:xfrm>
          <a:prstGeom prst="rect">
            <a:avLst/>
          </a:prstGeom>
          <a:solidFill>
            <a:srgbClr val="F6F3F2"/>
          </a:solidFill>
          <a:ln>
            <a:noFill/>
          </a:ln>
        </p:spPr>
        <p:txBody>
          <a:bodyPr anchor="ctr"/>
          <a:lstStyle>
            <a:lvl1pPr marL="169200" indent="-169200" algn="l" defTabSz="4572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Pct val="11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Segoe UI"/>
                <a:ea typeface="+mn-ea"/>
                <a:cs typeface="Segoe UI"/>
              </a:defRPr>
            </a:lvl1pPr>
            <a:lvl2pPr marL="363538" indent="-182563" algn="l" defTabSz="4572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Pct val="110000"/>
              <a:buFont typeface="Wingdings" charset="2"/>
              <a:buChar char="§"/>
              <a:defRPr sz="1400" kern="1200">
                <a:solidFill>
                  <a:schemeClr val="tx1"/>
                </a:solidFill>
                <a:latin typeface="Segoe UI"/>
                <a:ea typeface="+mn-ea"/>
                <a:cs typeface="Segoe UI"/>
              </a:defRPr>
            </a:lvl2pPr>
            <a:lvl3pPr marL="534988" indent="-171450" algn="l" defTabSz="4572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Pct val="110000"/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Segoe UI"/>
                <a:ea typeface="+mn-ea"/>
                <a:cs typeface="Segoe UI"/>
              </a:defRPr>
            </a:lvl3pPr>
            <a:lvl4pPr marL="715963" indent="-1809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Pct val="110000"/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Segoe UI"/>
                <a:ea typeface="+mn-ea"/>
                <a:cs typeface="Segoe UI"/>
              </a:defRPr>
            </a:lvl4pPr>
            <a:lvl5pPr marL="898525" indent="-182563" algn="l" defTabSz="4572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Pct val="110000"/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Segoe UI"/>
                <a:ea typeface="+mn-ea"/>
                <a:cs typeface="Segoe UI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377">
              <a:buNone/>
            </a:pPr>
            <a:endParaRPr lang="de-DE" sz="1400" kern="0"/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D2F2B780-D156-7893-51C8-CF7A89D23993}"/>
              </a:ext>
            </a:extLst>
          </p:cNvPr>
          <p:cNvSpPr/>
          <p:nvPr/>
        </p:nvSpPr>
        <p:spPr>
          <a:xfrm>
            <a:off x="7068216" y="4009654"/>
            <a:ext cx="528931" cy="665029"/>
          </a:xfrm>
          <a:prstGeom prst="rect">
            <a:avLst/>
          </a:prstGeom>
          <a:pattFill prst="wdUpDiag">
            <a:fgClr>
              <a:schemeClr val="accent1">
                <a:lumMod val="40000"/>
                <a:lumOff val="6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de-DE" sz="1400"/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3638BFB4-7AF9-C6EF-306C-26039CC077E0}"/>
              </a:ext>
            </a:extLst>
          </p:cNvPr>
          <p:cNvSpPr/>
          <p:nvPr/>
        </p:nvSpPr>
        <p:spPr>
          <a:xfrm>
            <a:off x="6443739" y="4009975"/>
            <a:ext cx="631390" cy="658679"/>
          </a:xfrm>
          <a:prstGeom prst="rect">
            <a:avLst/>
          </a:prstGeom>
          <a:solidFill>
            <a:srgbClr val="C4E5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de-DE" sz="1400"/>
          </a:p>
        </p:txBody>
      </p:sp>
      <p:sp>
        <p:nvSpPr>
          <p:cNvPr id="145" name="Rechtwinkliges Dreieck 144">
            <a:extLst>
              <a:ext uri="{FF2B5EF4-FFF2-40B4-BE49-F238E27FC236}">
                <a16:creationId xmlns:a16="http://schemas.microsoft.com/office/drawing/2014/main" id="{5336F78E-76D2-35E9-8BB0-B88BCF0621B9}"/>
              </a:ext>
            </a:extLst>
          </p:cNvPr>
          <p:cNvSpPr/>
          <p:nvPr/>
        </p:nvSpPr>
        <p:spPr>
          <a:xfrm>
            <a:off x="7066870" y="4015559"/>
            <a:ext cx="538342" cy="658679"/>
          </a:xfrm>
          <a:prstGeom prst="rtTriangle">
            <a:avLst/>
          </a:prstGeom>
          <a:solidFill>
            <a:srgbClr val="C4E5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de-DE" sz="1400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AC861D9F-4E69-0171-F59D-6C5322F43E7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096000" y="1929670"/>
            <a:ext cx="5221555" cy="332225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ts val="600"/>
              </a:spcBef>
              <a:buClr>
                <a:schemeClr val="accent3"/>
              </a:buClr>
              <a:buSzPct val="110000"/>
            </a:pPr>
            <a:r>
              <a:rPr lang="de-DE" sz="1400" b="1">
                <a:solidFill>
                  <a:schemeClr val="bg1"/>
                </a:solidFill>
              </a:rPr>
              <a:t>Ansatz 2: Regelbasiert für </a:t>
            </a:r>
            <a:r>
              <a:rPr lang="de-DE" sz="1400" b="1" err="1">
                <a:solidFill>
                  <a:schemeClr val="bg1"/>
                </a:solidFill>
              </a:rPr>
              <a:t>PV+Wind-Engpassgebiet</a:t>
            </a:r>
            <a:r>
              <a:rPr lang="de-DE" sz="1400" b="1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90" name="Textfeld 89">
            <a:extLst>
              <a:ext uri="{FF2B5EF4-FFF2-40B4-BE49-F238E27FC236}">
                <a16:creationId xmlns:a16="http://schemas.microsoft.com/office/drawing/2014/main" id="{6F6D9980-9DE3-3D84-1335-330D03AA6FAA}"/>
              </a:ext>
            </a:extLst>
          </p:cNvPr>
          <p:cNvSpPr txBox="1"/>
          <p:nvPr/>
        </p:nvSpPr>
        <p:spPr>
          <a:xfrm>
            <a:off x="6185598" y="3424514"/>
            <a:ext cx="921777" cy="366424"/>
          </a:xfrm>
          <a:prstGeom prst="rect">
            <a:avLst/>
          </a:prstGeom>
          <a:noFill/>
        </p:spPr>
        <p:txBody>
          <a:bodyPr wrap="square" lIns="90000" tIns="90000" rIns="90000" bIns="90000" rtlCol="0">
            <a:spAutoFit/>
          </a:bodyPr>
          <a:lstStyle/>
          <a:p>
            <a:pPr>
              <a:spcBef>
                <a:spcPts val="600"/>
              </a:spcBef>
              <a:buClr>
                <a:schemeClr val="accent3"/>
              </a:buClr>
              <a:buSzPct val="110000"/>
            </a:pPr>
            <a:r>
              <a:rPr lang="en-GB" sz="1200" i="1"/>
              <a:t>P</a:t>
            </a:r>
            <a:r>
              <a:rPr lang="en-GB" sz="600" i="1"/>
              <a:t>Biogas</a:t>
            </a:r>
            <a:endParaRPr lang="en-GB" sz="1200" i="1"/>
          </a:p>
        </p:txBody>
      </p:sp>
      <p:cxnSp>
        <p:nvCxnSpPr>
          <p:cNvPr id="91" name="Gerader Verbinder 90">
            <a:extLst>
              <a:ext uri="{FF2B5EF4-FFF2-40B4-BE49-F238E27FC236}">
                <a16:creationId xmlns:a16="http://schemas.microsoft.com/office/drawing/2014/main" id="{65EAC93B-9BA7-6AF5-2B47-F71E6A7DF92E}"/>
              </a:ext>
            </a:extLst>
          </p:cNvPr>
          <p:cNvCxnSpPr/>
          <p:nvPr/>
        </p:nvCxnSpPr>
        <p:spPr>
          <a:xfrm>
            <a:off x="6435951" y="3721195"/>
            <a:ext cx="0" cy="951952"/>
          </a:xfrm>
          <a:prstGeom prst="line">
            <a:avLst/>
          </a:prstGeom>
          <a:ln w="19050">
            <a:head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2" name="Gerader Verbinder 91">
            <a:extLst>
              <a:ext uri="{FF2B5EF4-FFF2-40B4-BE49-F238E27FC236}">
                <a16:creationId xmlns:a16="http://schemas.microsoft.com/office/drawing/2014/main" id="{7DDC5B2A-6D78-AD79-2231-9F7DC131029C}"/>
              </a:ext>
            </a:extLst>
          </p:cNvPr>
          <p:cNvCxnSpPr>
            <a:cxnSpLocks/>
          </p:cNvCxnSpPr>
          <p:nvPr/>
        </p:nvCxnSpPr>
        <p:spPr>
          <a:xfrm>
            <a:off x="6435951" y="4673916"/>
            <a:ext cx="1264533" cy="0"/>
          </a:xfrm>
          <a:prstGeom prst="line">
            <a:avLst/>
          </a:prstGeom>
          <a:ln w="19050"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6" name="Gerader Verbinder 95">
            <a:extLst>
              <a:ext uri="{FF2B5EF4-FFF2-40B4-BE49-F238E27FC236}">
                <a16:creationId xmlns:a16="http://schemas.microsoft.com/office/drawing/2014/main" id="{CB8B37A3-68B2-074B-1957-C89316ED72AC}"/>
              </a:ext>
            </a:extLst>
          </p:cNvPr>
          <p:cNvCxnSpPr>
            <a:cxnSpLocks/>
          </p:cNvCxnSpPr>
          <p:nvPr/>
        </p:nvCxnSpPr>
        <p:spPr>
          <a:xfrm>
            <a:off x="6435951" y="4018050"/>
            <a:ext cx="632266" cy="0"/>
          </a:xfrm>
          <a:prstGeom prst="line">
            <a:avLst/>
          </a:prstGeom>
          <a:ln w="19050">
            <a:solidFill>
              <a:schemeClr val="accent4">
                <a:lumMod val="10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0" name="Textfeld 119">
            <a:extLst>
              <a:ext uri="{FF2B5EF4-FFF2-40B4-BE49-F238E27FC236}">
                <a16:creationId xmlns:a16="http://schemas.microsoft.com/office/drawing/2014/main" id="{5F9B49A4-7CF7-4777-2C9F-2CBAC6C49573}"/>
              </a:ext>
            </a:extLst>
          </p:cNvPr>
          <p:cNvSpPr txBox="1"/>
          <p:nvPr/>
        </p:nvSpPr>
        <p:spPr>
          <a:xfrm>
            <a:off x="7652906" y="4483598"/>
            <a:ext cx="544036" cy="366424"/>
          </a:xfrm>
          <a:prstGeom prst="rect">
            <a:avLst/>
          </a:prstGeom>
          <a:noFill/>
        </p:spPr>
        <p:txBody>
          <a:bodyPr wrap="none" lIns="90000" tIns="90000" rIns="90000" bIns="90000" rtlCol="0">
            <a:spAutoFit/>
          </a:bodyPr>
          <a:lstStyle/>
          <a:p>
            <a:pPr>
              <a:spcBef>
                <a:spcPts val="600"/>
              </a:spcBef>
              <a:buClr>
                <a:schemeClr val="accent3"/>
              </a:buClr>
              <a:buSzPct val="110000"/>
            </a:pPr>
            <a:r>
              <a:rPr lang="en-GB" sz="1200" i="1"/>
              <a:t>P</a:t>
            </a:r>
            <a:r>
              <a:rPr lang="en-GB" sz="600" i="1"/>
              <a:t>Wind/PV</a:t>
            </a:r>
            <a:endParaRPr lang="en-GB" sz="1200" i="1"/>
          </a:p>
        </p:txBody>
      </p: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C429DBB6-7A4A-D741-6E90-1D1516AF2158}"/>
              </a:ext>
            </a:extLst>
          </p:cNvPr>
          <p:cNvCxnSpPr>
            <a:cxnSpLocks/>
          </p:cNvCxnSpPr>
          <p:nvPr/>
        </p:nvCxnSpPr>
        <p:spPr>
          <a:xfrm flipH="1" flipV="1">
            <a:off x="7068217" y="4007982"/>
            <a:ext cx="548902" cy="660672"/>
          </a:xfrm>
          <a:prstGeom prst="line">
            <a:avLst/>
          </a:prstGeom>
          <a:ln w="19050">
            <a:solidFill>
              <a:schemeClr val="accent4">
                <a:lumMod val="10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6" name="Ellipse 125">
            <a:extLst>
              <a:ext uri="{FF2B5EF4-FFF2-40B4-BE49-F238E27FC236}">
                <a16:creationId xmlns:a16="http://schemas.microsoft.com/office/drawing/2014/main" id="{55EBFF2C-9D48-BD49-C3A6-C14E00E82601}"/>
              </a:ext>
            </a:extLst>
          </p:cNvPr>
          <p:cNvSpPr/>
          <p:nvPr/>
        </p:nvSpPr>
        <p:spPr>
          <a:xfrm>
            <a:off x="7032217" y="3982050"/>
            <a:ext cx="72000" cy="7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de-DE" sz="1400"/>
          </a:p>
        </p:txBody>
      </p:sp>
      <p:sp>
        <p:nvSpPr>
          <p:cNvPr id="127" name="Ellipse 126">
            <a:extLst>
              <a:ext uri="{FF2B5EF4-FFF2-40B4-BE49-F238E27FC236}">
                <a16:creationId xmlns:a16="http://schemas.microsoft.com/office/drawing/2014/main" id="{47655CF8-05CA-1D71-4F69-C684E8ACCF81}"/>
              </a:ext>
            </a:extLst>
          </p:cNvPr>
          <p:cNvSpPr/>
          <p:nvPr/>
        </p:nvSpPr>
        <p:spPr>
          <a:xfrm>
            <a:off x="7564404" y="4632654"/>
            <a:ext cx="72000" cy="7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de-DE" sz="1400"/>
          </a:p>
        </p:txBody>
      </p:sp>
      <p:sp>
        <p:nvSpPr>
          <p:cNvPr id="132" name="Ellipse 131">
            <a:extLst>
              <a:ext uri="{FF2B5EF4-FFF2-40B4-BE49-F238E27FC236}">
                <a16:creationId xmlns:a16="http://schemas.microsoft.com/office/drawing/2014/main" id="{ABF371A7-B493-60AA-3A7C-CF212C37796C}"/>
              </a:ext>
            </a:extLst>
          </p:cNvPr>
          <p:cNvSpPr/>
          <p:nvPr/>
        </p:nvSpPr>
        <p:spPr>
          <a:xfrm>
            <a:off x="6414240" y="3982050"/>
            <a:ext cx="72000" cy="720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de-DE" sz="1400"/>
          </a:p>
        </p:txBody>
      </p:sp>
      <p:sp>
        <p:nvSpPr>
          <p:cNvPr id="133" name="Ellipse 132">
            <a:extLst>
              <a:ext uri="{FF2B5EF4-FFF2-40B4-BE49-F238E27FC236}">
                <a16:creationId xmlns:a16="http://schemas.microsoft.com/office/drawing/2014/main" id="{FDAEEA8A-103E-1233-9723-2BC7CC619CAD}"/>
              </a:ext>
            </a:extLst>
          </p:cNvPr>
          <p:cNvSpPr/>
          <p:nvPr/>
        </p:nvSpPr>
        <p:spPr>
          <a:xfrm>
            <a:off x="6414240" y="4632654"/>
            <a:ext cx="72000" cy="720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de-DE" sz="1400"/>
          </a:p>
        </p:txBody>
      </p:sp>
      <p:cxnSp>
        <p:nvCxnSpPr>
          <p:cNvPr id="141" name="Gerader Verbinder 140">
            <a:extLst>
              <a:ext uri="{FF2B5EF4-FFF2-40B4-BE49-F238E27FC236}">
                <a16:creationId xmlns:a16="http://schemas.microsoft.com/office/drawing/2014/main" id="{07FE78F1-FDBD-202C-B406-A331E02C289E}"/>
              </a:ext>
            </a:extLst>
          </p:cNvPr>
          <p:cNvCxnSpPr>
            <a:cxnSpLocks/>
            <a:stCxn id="132" idx="4"/>
            <a:endCxn id="133" idx="0"/>
          </p:cNvCxnSpPr>
          <p:nvPr/>
        </p:nvCxnSpPr>
        <p:spPr>
          <a:xfrm>
            <a:off x="6450240" y="4054050"/>
            <a:ext cx="0" cy="578604"/>
          </a:xfrm>
          <a:prstGeom prst="line">
            <a:avLst/>
          </a:prstGeom>
          <a:ln w="9525">
            <a:solidFill>
              <a:srgbClr val="837D7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7" name="Gruppieren 146">
            <a:extLst>
              <a:ext uri="{FF2B5EF4-FFF2-40B4-BE49-F238E27FC236}">
                <a16:creationId xmlns:a16="http://schemas.microsoft.com/office/drawing/2014/main" id="{7F1D7BA8-527C-6D43-5B11-72691025D57F}"/>
              </a:ext>
            </a:extLst>
          </p:cNvPr>
          <p:cNvGrpSpPr/>
          <p:nvPr/>
        </p:nvGrpSpPr>
        <p:grpSpPr>
          <a:xfrm>
            <a:off x="6464121" y="4432206"/>
            <a:ext cx="303049" cy="240941"/>
            <a:chOff x="602386" y="5194858"/>
            <a:chExt cx="471994" cy="375262"/>
          </a:xfrm>
          <a:solidFill>
            <a:schemeClr val="accent2"/>
          </a:solidFill>
        </p:grpSpPr>
        <p:grpSp>
          <p:nvGrpSpPr>
            <p:cNvPr id="148" name="ee4p_icon_group">
              <a:extLst>
                <a:ext uri="{FF2B5EF4-FFF2-40B4-BE49-F238E27FC236}">
                  <a16:creationId xmlns:a16="http://schemas.microsoft.com/office/drawing/2014/main" id="{2DBB6C54-562A-8287-C353-38C5F1B6A03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02386" y="5194858"/>
              <a:ext cx="269931" cy="269931"/>
              <a:chOff x="4032003" y="2889007"/>
              <a:chExt cx="1080000" cy="1080001"/>
            </a:xfrm>
            <a:grpFill/>
          </p:grpSpPr>
          <p:sp>
            <p:nvSpPr>
              <p:cNvPr id="152" name="ee4p_icon_frame" hidden="1">
                <a:extLst>
                  <a:ext uri="{FF2B5EF4-FFF2-40B4-BE49-F238E27FC236}">
                    <a16:creationId xmlns:a16="http://schemas.microsoft.com/office/drawing/2014/main" id="{5A56AFD6-BF2C-74ED-974B-BE0B3B888A9F}"/>
                  </a:ext>
                </a:extLst>
              </p:cNvPr>
              <p:cNvSpPr/>
              <p:nvPr/>
            </p:nvSpPr>
            <p:spPr>
              <a:xfrm>
                <a:off x="4032003" y="2889007"/>
                <a:ext cx="1080000" cy="1080001"/>
              </a:xfrm>
              <a:prstGeom prst="rect">
                <a:avLst/>
              </a:prstGeom>
              <a:grpFill/>
              <a:ln w="254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15000"/>
                      </a:schemeClr>
                    </a:solidFill>
                    <a:prstDash val="solid"/>
                  </a14:hiddenLine>
                </a:ext>
              </a:ex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ON Brix Sans"/>
                  <a:ea typeface="+mn-ea"/>
                  <a:cs typeface="+mn-cs"/>
                </a:endParaRPr>
              </a:p>
            </p:txBody>
          </p:sp>
          <p:sp>
            <p:nvSpPr>
              <p:cNvPr id="153" name="ee4p_icon">
                <a:extLst>
                  <a:ext uri="{FF2B5EF4-FFF2-40B4-BE49-F238E27FC236}">
                    <a16:creationId xmlns:a16="http://schemas.microsoft.com/office/drawing/2014/main" id="{F46FCD09-7D37-F808-9239-DD195918087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224832" y="2921455"/>
                <a:ext cx="694341" cy="1015103"/>
              </a:xfrm>
              <a:custGeom>
                <a:avLst/>
                <a:gdLst>
                  <a:gd name="connsiteX0" fmla="*/ 689221 w 694341"/>
                  <a:gd name="connsiteY0" fmla="*/ 580357 h 1015103"/>
                  <a:gd name="connsiteX1" fmla="*/ 520531 w 694341"/>
                  <a:gd name="connsiteY1" fmla="*/ 483600 h 1015103"/>
                  <a:gd name="connsiteX2" fmla="*/ 510371 w 694341"/>
                  <a:gd name="connsiteY2" fmla="*/ 501211 h 1015103"/>
                  <a:gd name="connsiteX3" fmla="*/ 664024 w 694341"/>
                  <a:gd name="connsiteY3" fmla="*/ 589264 h 1015103"/>
                  <a:gd name="connsiteX4" fmla="*/ 627956 w 694341"/>
                  <a:gd name="connsiteY4" fmla="*/ 610736 h 1015103"/>
                  <a:gd name="connsiteX5" fmla="*/ 400372 w 694341"/>
                  <a:gd name="connsiteY5" fmla="*/ 503683 h 1015103"/>
                  <a:gd name="connsiteX6" fmla="*/ 387062 w 694341"/>
                  <a:gd name="connsiteY6" fmla="*/ 461452 h 1015103"/>
                  <a:gd name="connsiteX7" fmla="*/ 408364 w 694341"/>
                  <a:gd name="connsiteY7" fmla="*/ 442588 h 1015103"/>
                  <a:gd name="connsiteX8" fmla="*/ 457234 w 694341"/>
                  <a:gd name="connsiteY8" fmla="*/ 470629 h 1015103"/>
                  <a:gd name="connsiteX9" fmla="*/ 467394 w 694341"/>
                  <a:gd name="connsiteY9" fmla="*/ 453019 h 1015103"/>
                  <a:gd name="connsiteX10" fmla="*/ 418558 w 694341"/>
                  <a:gd name="connsiteY10" fmla="*/ 424977 h 1015103"/>
                  <a:gd name="connsiteX11" fmla="*/ 402167 w 694341"/>
                  <a:gd name="connsiteY11" fmla="*/ 343697 h 1015103"/>
                  <a:gd name="connsiteX12" fmla="*/ 433900 w 694341"/>
                  <a:gd name="connsiteY12" fmla="*/ 309255 h 1015103"/>
                  <a:gd name="connsiteX13" fmla="*/ 436541 w 694341"/>
                  <a:gd name="connsiteY13" fmla="*/ 301533 h 1015103"/>
                  <a:gd name="connsiteX14" fmla="*/ 415375 w 694341"/>
                  <a:gd name="connsiteY14" fmla="*/ 41065 h 1015103"/>
                  <a:gd name="connsiteX15" fmla="*/ 410227 w 694341"/>
                  <a:gd name="connsiteY15" fmla="*/ 33038 h 1015103"/>
                  <a:gd name="connsiteX16" fmla="*/ 353941 w 694341"/>
                  <a:gd name="connsiteY16" fmla="*/ 1305 h 1015103"/>
                  <a:gd name="connsiteX17" fmla="*/ 340106 w 694341"/>
                  <a:gd name="connsiteY17" fmla="*/ 5183 h 1015103"/>
                  <a:gd name="connsiteX18" fmla="*/ 338802 w 694341"/>
                  <a:gd name="connsiteY18" fmla="*/ 10144 h 1015103"/>
                  <a:gd name="connsiteX19" fmla="*/ 338802 w 694341"/>
                  <a:gd name="connsiteY19" fmla="*/ 322395 h 1015103"/>
                  <a:gd name="connsiteX20" fmla="*/ 276894 w 694341"/>
                  <a:gd name="connsiteY20" fmla="*/ 375735 h 1015103"/>
                  <a:gd name="connsiteX21" fmla="*/ 231242 w 694341"/>
                  <a:gd name="connsiteY21" fmla="*/ 364525 h 1015103"/>
                  <a:gd name="connsiteX22" fmla="*/ 223181 w 694341"/>
                  <a:gd name="connsiteY22" fmla="*/ 365948 h 1015103"/>
                  <a:gd name="connsiteX23" fmla="*/ 5114 w 694341"/>
                  <a:gd name="connsiteY23" fmla="*/ 510220 h 1015103"/>
                  <a:gd name="connsiteX24" fmla="*/ 576 w 694341"/>
                  <a:gd name="connsiteY24" fmla="*/ 518585 h 1015103"/>
                  <a:gd name="connsiteX25" fmla="*/ 0 w 694341"/>
                  <a:gd name="connsiteY25" fmla="*/ 583338 h 1015103"/>
                  <a:gd name="connsiteX26" fmla="*/ 10160 w 694341"/>
                  <a:gd name="connsiteY26" fmla="*/ 593498 h 1015103"/>
                  <a:gd name="connsiteX27" fmla="*/ 15071 w 694341"/>
                  <a:gd name="connsiteY27" fmla="*/ 592245 h 1015103"/>
                  <a:gd name="connsiteX28" fmla="*/ 254406 w 694341"/>
                  <a:gd name="connsiteY28" fmla="*/ 460165 h 1015103"/>
                  <a:gd name="connsiteX29" fmla="*/ 244585 w 694341"/>
                  <a:gd name="connsiteY29" fmla="*/ 442385 h 1015103"/>
                  <a:gd name="connsiteX30" fmla="*/ 20455 w 694341"/>
                  <a:gd name="connsiteY30" fmla="*/ 566167 h 1015103"/>
                  <a:gd name="connsiteX31" fmla="*/ 20828 w 694341"/>
                  <a:gd name="connsiteY31" fmla="*/ 524173 h 1015103"/>
                  <a:gd name="connsiteX32" fmla="*/ 230530 w 694341"/>
                  <a:gd name="connsiteY32" fmla="*/ 385319 h 1015103"/>
                  <a:gd name="connsiteX33" fmla="*/ 273846 w 694341"/>
                  <a:gd name="connsiteY33" fmla="*/ 395953 h 1015103"/>
                  <a:gd name="connsiteX34" fmla="*/ 273846 w 694341"/>
                  <a:gd name="connsiteY34" fmla="*/ 396800 h 1015103"/>
                  <a:gd name="connsiteX35" fmla="*/ 306527 w 694341"/>
                  <a:gd name="connsiteY35" fmla="*/ 459623 h 1015103"/>
                  <a:gd name="connsiteX36" fmla="*/ 261349 w 694341"/>
                  <a:gd name="connsiteY36" fmla="*/ 876691 h 1015103"/>
                  <a:gd name="connsiteX37" fmla="*/ 281669 w 694341"/>
                  <a:gd name="connsiteY37" fmla="*/ 878892 h 1015103"/>
                  <a:gd name="connsiteX38" fmla="*/ 326238 w 694341"/>
                  <a:gd name="connsiteY38" fmla="*/ 468597 h 1015103"/>
                  <a:gd name="connsiteX39" fmla="*/ 348488 w 694341"/>
                  <a:gd name="connsiteY39" fmla="*/ 472153 h 1015103"/>
                  <a:gd name="connsiteX40" fmla="*/ 348894 w 694341"/>
                  <a:gd name="connsiteY40" fmla="*/ 472153 h 1015103"/>
                  <a:gd name="connsiteX41" fmla="*/ 368402 w 694341"/>
                  <a:gd name="connsiteY41" fmla="*/ 469580 h 1015103"/>
                  <a:gd name="connsiteX42" fmla="*/ 382355 w 694341"/>
                  <a:gd name="connsiteY42" fmla="*/ 514317 h 1015103"/>
                  <a:gd name="connsiteX43" fmla="*/ 387739 w 694341"/>
                  <a:gd name="connsiteY43" fmla="*/ 520447 h 1015103"/>
                  <a:gd name="connsiteX44" fmla="*/ 624230 w 694341"/>
                  <a:gd name="connsiteY44" fmla="*/ 631699 h 1015103"/>
                  <a:gd name="connsiteX45" fmla="*/ 633747 w 694341"/>
                  <a:gd name="connsiteY45" fmla="*/ 631225 h 1015103"/>
                  <a:gd name="connsiteX46" fmla="*/ 689390 w 694341"/>
                  <a:gd name="connsiteY46" fmla="*/ 598070 h 1015103"/>
                  <a:gd name="connsiteX47" fmla="*/ 692902 w 694341"/>
                  <a:gd name="connsiteY47" fmla="*/ 584137 h 1015103"/>
                  <a:gd name="connsiteX48" fmla="*/ 689221 w 694341"/>
                  <a:gd name="connsiteY48" fmla="*/ 580527 h 1015103"/>
                  <a:gd name="connsiteX49" fmla="*/ 358953 w 694341"/>
                  <a:gd name="connsiteY49" fmla="*/ 27518 h 1015103"/>
                  <a:gd name="connsiteX50" fmla="*/ 395529 w 694341"/>
                  <a:gd name="connsiteY50" fmla="*/ 48109 h 1015103"/>
                  <a:gd name="connsiteX51" fmla="*/ 415849 w 694341"/>
                  <a:gd name="connsiteY51" fmla="*/ 298722 h 1015103"/>
                  <a:gd name="connsiteX52" fmla="*/ 385911 w 694341"/>
                  <a:gd name="connsiteY52" fmla="*/ 331437 h 1015103"/>
                  <a:gd name="connsiteX53" fmla="*/ 358817 w 694341"/>
                  <a:gd name="connsiteY53" fmla="*/ 322327 h 1015103"/>
                  <a:gd name="connsiteX54" fmla="*/ 348996 w 694341"/>
                  <a:gd name="connsiteY54" fmla="*/ 451766 h 1015103"/>
                  <a:gd name="connsiteX55" fmla="*/ 294166 w 694341"/>
                  <a:gd name="connsiteY55" fmla="*/ 396800 h 1015103"/>
                  <a:gd name="connsiteX56" fmla="*/ 348996 w 694341"/>
                  <a:gd name="connsiteY56" fmla="*/ 341834 h 1015103"/>
                  <a:gd name="connsiteX57" fmla="*/ 403962 w 694341"/>
                  <a:gd name="connsiteY57" fmla="*/ 396800 h 1015103"/>
                  <a:gd name="connsiteX58" fmla="*/ 348996 w 694341"/>
                  <a:gd name="connsiteY58" fmla="*/ 451766 h 1015103"/>
                  <a:gd name="connsiteX59" fmla="*/ 609431 w 694341"/>
                  <a:gd name="connsiteY59" fmla="*/ 926272 h 1015103"/>
                  <a:gd name="connsiteX60" fmla="*/ 609431 w 694341"/>
                  <a:gd name="connsiteY60" fmla="*/ 1004944 h 1015103"/>
                  <a:gd name="connsiteX61" fmla="*/ 599271 w 694341"/>
                  <a:gd name="connsiteY61" fmla="*/ 1015104 h 1015103"/>
                  <a:gd name="connsiteX62" fmla="*/ 112166 w 694341"/>
                  <a:gd name="connsiteY62" fmla="*/ 1015104 h 1015103"/>
                  <a:gd name="connsiteX63" fmla="*/ 102006 w 694341"/>
                  <a:gd name="connsiteY63" fmla="*/ 1004944 h 1015103"/>
                  <a:gd name="connsiteX64" fmla="*/ 102006 w 694341"/>
                  <a:gd name="connsiteY64" fmla="*/ 926305 h 1015103"/>
                  <a:gd name="connsiteX65" fmla="*/ 112166 w 694341"/>
                  <a:gd name="connsiteY65" fmla="*/ 916145 h 1015103"/>
                  <a:gd name="connsiteX66" fmla="*/ 415307 w 694341"/>
                  <a:gd name="connsiteY66" fmla="*/ 916145 h 1015103"/>
                  <a:gd name="connsiteX67" fmla="*/ 393565 w 694341"/>
                  <a:gd name="connsiteY67" fmla="*/ 568064 h 1015103"/>
                  <a:gd name="connsiteX68" fmla="*/ 413885 w 694341"/>
                  <a:gd name="connsiteY68" fmla="*/ 566811 h 1015103"/>
                  <a:gd name="connsiteX69" fmla="*/ 436270 w 694341"/>
                  <a:gd name="connsiteY69" fmla="*/ 925797 h 1015103"/>
                  <a:gd name="connsiteX70" fmla="*/ 426737 w 694341"/>
                  <a:gd name="connsiteY70" fmla="*/ 936550 h 1015103"/>
                  <a:gd name="connsiteX71" fmla="*/ 426110 w 694341"/>
                  <a:gd name="connsiteY71" fmla="*/ 936567 h 1015103"/>
                  <a:gd name="connsiteX72" fmla="*/ 122326 w 694341"/>
                  <a:gd name="connsiteY72" fmla="*/ 936567 h 1015103"/>
                  <a:gd name="connsiteX73" fmla="*/ 122326 w 694341"/>
                  <a:gd name="connsiteY73" fmla="*/ 994885 h 1015103"/>
                  <a:gd name="connsiteX74" fmla="*/ 589111 w 694341"/>
                  <a:gd name="connsiteY74" fmla="*/ 994885 h 1015103"/>
                  <a:gd name="connsiteX75" fmla="*/ 589111 w 694341"/>
                  <a:gd name="connsiteY75" fmla="*/ 936432 h 1015103"/>
                  <a:gd name="connsiteX76" fmla="*/ 486596 w 694341"/>
                  <a:gd name="connsiteY76" fmla="*/ 936432 h 1015103"/>
                  <a:gd name="connsiteX77" fmla="*/ 486596 w 694341"/>
                  <a:gd name="connsiteY77" fmla="*/ 916112 h 1015103"/>
                  <a:gd name="connsiteX78" fmla="*/ 599271 w 694341"/>
                  <a:gd name="connsiteY78" fmla="*/ 916112 h 1015103"/>
                  <a:gd name="connsiteX79" fmla="*/ 609431 w 694341"/>
                  <a:gd name="connsiteY79" fmla="*/ 926272 h 1015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</a:cxnLst>
                <a:rect l="l" t="t" r="r" b="b"/>
                <a:pathLst>
                  <a:path w="694341" h="1015103">
                    <a:moveTo>
                      <a:pt x="689221" y="580357"/>
                    </a:moveTo>
                    <a:lnTo>
                      <a:pt x="520531" y="483600"/>
                    </a:lnTo>
                    <a:lnTo>
                      <a:pt x="510371" y="501211"/>
                    </a:lnTo>
                    <a:lnTo>
                      <a:pt x="664024" y="589264"/>
                    </a:lnTo>
                    <a:lnTo>
                      <a:pt x="627956" y="610736"/>
                    </a:lnTo>
                    <a:lnTo>
                      <a:pt x="400372" y="503683"/>
                    </a:lnTo>
                    <a:lnTo>
                      <a:pt x="387062" y="461452"/>
                    </a:lnTo>
                    <a:cubicBezTo>
                      <a:pt x="395292" y="456568"/>
                      <a:pt x="402522" y="450167"/>
                      <a:pt x="408364" y="442588"/>
                    </a:cubicBezTo>
                    <a:lnTo>
                      <a:pt x="457234" y="470629"/>
                    </a:lnTo>
                    <a:lnTo>
                      <a:pt x="467394" y="453019"/>
                    </a:lnTo>
                    <a:lnTo>
                      <a:pt x="418558" y="424977"/>
                    </a:lnTo>
                    <a:cubicBezTo>
                      <a:pt x="429924" y="397051"/>
                      <a:pt x="423469" y="365033"/>
                      <a:pt x="402167" y="343697"/>
                    </a:cubicBezTo>
                    <a:lnTo>
                      <a:pt x="433900" y="309255"/>
                    </a:lnTo>
                    <a:cubicBezTo>
                      <a:pt x="435820" y="307163"/>
                      <a:pt x="436778" y="304363"/>
                      <a:pt x="436541" y="301533"/>
                    </a:cubicBezTo>
                    <a:lnTo>
                      <a:pt x="415375" y="41065"/>
                    </a:lnTo>
                    <a:cubicBezTo>
                      <a:pt x="415100" y="37700"/>
                      <a:pt x="413170" y="34692"/>
                      <a:pt x="410227" y="33038"/>
                    </a:cubicBezTo>
                    <a:lnTo>
                      <a:pt x="353941" y="1305"/>
                    </a:lnTo>
                    <a:cubicBezTo>
                      <a:pt x="349050" y="-1444"/>
                      <a:pt x="342856" y="292"/>
                      <a:pt x="340106" y="5183"/>
                    </a:cubicBezTo>
                    <a:cubicBezTo>
                      <a:pt x="339253" y="6698"/>
                      <a:pt x="338806" y="8406"/>
                      <a:pt x="338802" y="10144"/>
                    </a:cubicBezTo>
                    <a:lnTo>
                      <a:pt x="338802" y="322395"/>
                    </a:lnTo>
                    <a:cubicBezTo>
                      <a:pt x="303919" y="327272"/>
                      <a:pt x="283870" y="350335"/>
                      <a:pt x="276894" y="375735"/>
                    </a:cubicBezTo>
                    <a:lnTo>
                      <a:pt x="231242" y="364525"/>
                    </a:lnTo>
                    <a:cubicBezTo>
                      <a:pt x="228475" y="363848"/>
                      <a:pt x="225549" y="364366"/>
                      <a:pt x="223181" y="365948"/>
                    </a:cubicBezTo>
                    <a:lnTo>
                      <a:pt x="5114" y="510220"/>
                    </a:lnTo>
                    <a:cubicBezTo>
                      <a:pt x="2308" y="512082"/>
                      <a:pt x="608" y="515215"/>
                      <a:pt x="576" y="518585"/>
                    </a:cubicBezTo>
                    <a:lnTo>
                      <a:pt x="0" y="583338"/>
                    </a:lnTo>
                    <a:cubicBezTo>
                      <a:pt x="0" y="588949"/>
                      <a:pt x="4549" y="593498"/>
                      <a:pt x="10160" y="593498"/>
                    </a:cubicBezTo>
                    <a:cubicBezTo>
                      <a:pt x="11876" y="593501"/>
                      <a:pt x="13566" y="593071"/>
                      <a:pt x="15071" y="592245"/>
                    </a:cubicBezTo>
                    <a:lnTo>
                      <a:pt x="254406" y="460165"/>
                    </a:lnTo>
                    <a:lnTo>
                      <a:pt x="244585" y="442385"/>
                    </a:lnTo>
                    <a:lnTo>
                      <a:pt x="20455" y="566167"/>
                    </a:lnTo>
                    <a:lnTo>
                      <a:pt x="20828" y="524173"/>
                    </a:lnTo>
                    <a:lnTo>
                      <a:pt x="230530" y="385319"/>
                    </a:lnTo>
                    <a:lnTo>
                      <a:pt x="273846" y="395953"/>
                    </a:lnTo>
                    <a:lnTo>
                      <a:pt x="273846" y="396800"/>
                    </a:lnTo>
                    <a:cubicBezTo>
                      <a:pt x="273456" y="421912"/>
                      <a:pt x="285743" y="445527"/>
                      <a:pt x="306527" y="459623"/>
                    </a:cubicBezTo>
                    <a:lnTo>
                      <a:pt x="261349" y="876691"/>
                    </a:lnTo>
                    <a:lnTo>
                      <a:pt x="281669" y="878892"/>
                    </a:lnTo>
                    <a:lnTo>
                      <a:pt x="326238" y="468597"/>
                    </a:lnTo>
                    <a:cubicBezTo>
                      <a:pt x="333478" y="470697"/>
                      <a:pt x="340953" y="471889"/>
                      <a:pt x="348488" y="472153"/>
                    </a:cubicBezTo>
                    <a:lnTo>
                      <a:pt x="348894" y="472153"/>
                    </a:lnTo>
                    <a:cubicBezTo>
                      <a:pt x="355481" y="472147"/>
                      <a:pt x="362038" y="471283"/>
                      <a:pt x="368402" y="469580"/>
                    </a:cubicBezTo>
                    <a:lnTo>
                      <a:pt x="382355" y="514317"/>
                    </a:lnTo>
                    <a:cubicBezTo>
                      <a:pt x="383215" y="517023"/>
                      <a:pt x="385166" y="519245"/>
                      <a:pt x="387739" y="520447"/>
                    </a:cubicBezTo>
                    <a:lnTo>
                      <a:pt x="624230" y="631699"/>
                    </a:lnTo>
                    <a:cubicBezTo>
                      <a:pt x="627285" y="633132"/>
                      <a:pt x="630851" y="632952"/>
                      <a:pt x="633747" y="631225"/>
                    </a:cubicBezTo>
                    <a:lnTo>
                      <a:pt x="689390" y="598070"/>
                    </a:lnTo>
                    <a:cubicBezTo>
                      <a:pt x="694206" y="595191"/>
                      <a:pt x="695781" y="588953"/>
                      <a:pt x="692902" y="584137"/>
                    </a:cubicBezTo>
                    <a:cubicBezTo>
                      <a:pt x="692004" y="582637"/>
                      <a:pt x="690738" y="581394"/>
                      <a:pt x="689221" y="580527"/>
                    </a:cubicBezTo>
                    <a:close/>
                    <a:moveTo>
                      <a:pt x="358953" y="27518"/>
                    </a:moveTo>
                    <a:lnTo>
                      <a:pt x="395529" y="48109"/>
                    </a:lnTo>
                    <a:lnTo>
                      <a:pt x="415849" y="298722"/>
                    </a:lnTo>
                    <a:lnTo>
                      <a:pt x="385911" y="331437"/>
                    </a:lnTo>
                    <a:cubicBezTo>
                      <a:pt x="377549" y="326691"/>
                      <a:pt x="368347" y="323599"/>
                      <a:pt x="358817" y="322327"/>
                    </a:cubicBezTo>
                    <a:close/>
                    <a:moveTo>
                      <a:pt x="348996" y="451766"/>
                    </a:moveTo>
                    <a:cubicBezTo>
                      <a:pt x="311099" y="450174"/>
                      <a:pt x="294166" y="423013"/>
                      <a:pt x="294166" y="396800"/>
                    </a:cubicBezTo>
                    <a:cubicBezTo>
                      <a:pt x="294166" y="370587"/>
                      <a:pt x="311099" y="343426"/>
                      <a:pt x="348996" y="341834"/>
                    </a:cubicBezTo>
                    <a:cubicBezTo>
                      <a:pt x="379354" y="341834"/>
                      <a:pt x="403962" y="366442"/>
                      <a:pt x="403962" y="396800"/>
                    </a:cubicBezTo>
                    <a:cubicBezTo>
                      <a:pt x="403962" y="427158"/>
                      <a:pt x="379354" y="451766"/>
                      <a:pt x="348996" y="451766"/>
                    </a:cubicBezTo>
                    <a:close/>
                    <a:moveTo>
                      <a:pt x="609431" y="926272"/>
                    </a:moveTo>
                    <a:lnTo>
                      <a:pt x="609431" y="1004944"/>
                    </a:lnTo>
                    <a:cubicBezTo>
                      <a:pt x="609431" y="1010556"/>
                      <a:pt x="604882" y="1015104"/>
                      <a:pt x="599271" y="1015104"/>
                    </a:cubicBezTo>
                    <a:lnTo>
                      <a:pt x="112166" y="1015104"/>
                    </a:lnTo>
                    <a:cubicBezTo>
                      <a:pt x="106555" y="1015104"/>
                      <a:pt x="102006" y="1010556"/>
                      <a:pt x="102006" y="1004944"/>
                    </a:cubicBezTo>
                    <a:lnTo>
                      <a:pt x="102006" y="926305"/>
                    </a:lnTo>
                    <a:cubicBezTo>
                      <a:pt x="102006" y="920694"/>
                      <a:pt x="106555" y="916145"/>
                      <a:pt x="112166" y="916145"/>
                    </a:cubicBezTo>
                    <a:lnTo>
                      <a:pt x="415307" y="916145"/>
                    </a:lnTo>
                    <a:lnTo>
                      <a:pt x="393565" y="568064"/>
                    </a:lnTo>
                    <a:lnTo>
                      <a:pt x="413885" y="566811"/>
                    </a:lnTo>
                    <a:lnTo>
                      <a:pt x="436270" y="925797"/>
                    </a:lnTo>
                    <a:cubicBezTo>
                      <a:pt x="436606" y="931399"/>
                      <a:pt x="432338" y="936211"/>
                      <a:pt x="426737" y="936550"/>
                    </a:cubicBezTo>
                    <a:cubicBezTo>
                      <a:pt x="426530" y="936560"/>
                      <a:pt x="426320" y="936567"/>
                      <a:pt x="426110" y="936567"/>
                    </a:cubicBezTo>
                    <a:lnTo>
                      <a:pt x="122326" y="936567"/>
                    </a:lnTo>
                    <a:lnTo>
                      <a:pt x="122326" y="994885"/>
                    </a:lnTo>
                    <a:lnTo>
                      <a:pt x="589111" y="994885"/>
                    </a:lnTo>
                    <a:lnTo>
                      <a:pt x="589111" y="936432"/>
                    </a:lnTo>
                    <a:lnTo>
                      <a:pt x="486596" y="936432"/>
                    </a:lnTo>
                    <a:lnTo>
                      <a:pt x="486596" y="916112"/>
                    </a:lnTo>
                    <a:lnTo>
                      <a:pt x="599271" y="916112"/>
                    </a:lnTo>
                    <a:cubicBezTo>
                      <a:pt x="604882" y="916112"/>
                      <a:pt x="609431" y="920660"/>
                      <a:pt x="609431" y="926272"/>
                    </a:cubicBezTo>
                    <a:close/>
                  </a:path>
                </a:pathLst>
              </a:custGeom>
              <a:grpFill/>
              <a:ln w="33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EON Brix Sans"/>
                </a:endParaRPr>
              </a:p>
            </p:txBody>
          </p:sp>
        </p:grpSp>
        <p:grpSp>
          <p:nvGrpSpPr>
            <p:cNvPr id="149" name="ee4p_icon_group">
              <a:extLst>
                <a:ext uri="{FF2B5EF4-FFF2-40B4-BE49-F238E27FC236}">
                  <a16:creationId xmlns:a16="http://schemas.microsoft.com/office/drawing/2014/main" id="{1B639267-30AF-1952-E882-40D749BB81D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18671" y="5270071"/>
              <a:ext cx="255709" cy="300049"/>
              <a:chOff x="4032000" y="2620518"/>
              <a:chExt cx="1149265" cy="1348548"/>
            </a:xfrm>
            <a:grpFill/>
          </p:grpSpPr>
          <p:sp>
            <p:nvSpPr>
              <p:cNvPr id="150" name="ee4p_icon_frame" hidden="1">
                <a:extLst>
                  <a:ext uri="{FF2B5EF4-FFF2-40B4-BE49-F238E27FC236}">
                    <a16:creationId xmlns:a16="http://schemas.microsoft.com/office/drawing/2014/main" id="{FC712ADA-45A7-7FE6-C9B5-77CD72A58ECA}"/>
                  </a:ext>
                </a:extLst>
              </p:cNvPr>
              <p:cNvSpPr/>
              <p:nvPr/>
            </p:nvSpPr>
            <p:spPr>
              <a:xfrm>
                <a:off x="4032000" y="2889066"/>
                <a:ext cx="1080000" cy="1080000"/>
              </a:xfrm>
              <a:prstGeom prst="rect">
                <a:avLst/>
              </a:prstGeom>
              <a:grpFill/>
              <a:ln w="254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15000"/>
                      </a:schemeClr>
                    </a:solidFill>
                    <a:prstDash val="solid"/>
                  </a14:hiddenLine>
                </a:ext>
              </a:ex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ON Brix Sans"/>
                  <a:ea typeface="+mn-ea"/>
                  <a:cs typeface="+mn-cs"/>
                </a:endParaRPr>
              </a:p>
            </p:txBody>
          </p:sp>
          <p:sp>
            <p:nvSpPr>
              <p:cNvPr id="151" name="ee4p_icon">
                <a:extLst>
                  <a:ext uri="{FF2B5EF4-FFF2-40B4-BE49-F238E27FC236}">
                    <a16:creationId xmlns:a16="http://schemas.microsoft.com/office/drawing/2014/main" id="{AD0B66E8-1094-6477-A1E1-4EDAA0B73AE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165609" y="2620518"/>
                <a:ext cx="1015656" cy="853305"/>
              </a:xfrm>
              <a:custGeom>
                <a:avLst/>
                <a:gdLst>
                  <a:gd name="connsiteX0" fmla="*/ 1015489 w 1015656"/>
                  <a:gd name="connsiteY0" fmla="*/ 551689 h 853305"/>
                  <a:gd name="connsiteX1" fmla="*/ 1007323 w 1015656"/>
                  <a:gd name="connsiteY1" fmla="*/ 563512 h 853305"/>
                  <a:gd name="connsiteX2" fmla="*/ 1005498 w 1015656"/>
                  <a:gd name="connsiteY2" fmla="*/ 563678 h 853305"/>
                  <a:gd name="connsiteX3" fmla="*/ 826174 w 1015656"/>
                  <a:gd name="connsiteY3" fmla="*/ 563678 h 853305"/>
                  <a:gd name="connsiteX4" fmla="*/ 826174 w 1015656"/>
                  <a:gd name="connsiteY4" fmla="*/ 543358 h 853305"/>
                  <a:gd name="connsiteX5" fmla="*/ 993238 w 1015656"/>
                  <a:gd name="connsiteY5" fmla="*/ 543358 h 853305"/>
                  <a:gd name="connsiteX6" fmla="*/ 897565 w 1015656"/>
                  <a:gd name="connsiteY6" fmla="*/ 20186 h 853305"/>
                  <a:gd name="connsiteX7" fmla="*/ 118090 w 1015656"/>
                  <a:gd name="connsiteY7" fmla="*/ 20186 h 853305"/>
                  <a:gd name="connsiteX8" fmla="*/ 22349 w 1015656"/>
                  <a:gd name="connsiteY8" fmla="*/ 543358 h 853305"/>
                  <a:gd name="connsiteX9" fmla="*/ 693688 w 1015656"/>
                  <a:gd name="connsiteY9" fmla="*/ 543358 h 853305"/>
                  <a:gd name="connsiteX10" fmla="*/ 693688 w 1015656"/>
                  <a:gd name="connsiteY10" fmla="*/ 563678 h 853305"/>
                  <a:gd name="connsiteX11" fmla="*/ 568110 w 1015656"/>
                  <a:gd name="connsiteY11" fmla="*/ 563678 h 853305"/>
                  <a:gd name="connsiteX12" fmla="*/ 568110 w 1015656"/>
                  <a:gd name="connsiteY12" fmla="*/ 755973 h 853305"/>
                  <a:gd name="connsiteX13" fmla="*/ 730094 w 1015656"/>
                  <a:gd name="connsiteY13" fmla="*/ 755973 h 853305"/>
                  <a:gd name="connsiteX14" fmla="*/ 740254 w 1015656"/>
                  <a:gd name="connsiteY14" fmla="*/ 766133 h 853305"/>
                  <a:gd name="connsiteX15" fmla="*/ 740254 w 1015656"/>
                  <a:gd name="connsiteY15" fmla="*/ 843146 h 853305"/>
                  <a:gd name="connsiteX16" fmla="*/ 730094 w 1015656"/>
                  <a:gd name="connsiteY16" fmla="*/ 853306 h 853305"/>
                  <a:gd name="connsiteX17" fmla="*/ 285560 w 1015656"/>
                  <a:gd name="connsiteY17" fmla="*/ 853306 h 853305"/>
                  <a:gd name="connsiteX18" fmla="*/ 275400 w 1015656"/>
                  <a:gd name="connsiteY18" fmla="*/ 843146 h 853305"/>
                  <a:gd name="connsiteX19" fmla="*/ 275400 w 1015656"/>
                  <a:gd name="connsiteY19" fmla="*/ 766269 h 853305"/>
                  <a:gd name="connsiteX20" fmla="*/ 285560 w 1015656"/>
                  <a:gd name="connsiteY20" fmla="*/ 756109 h 853305"/>
                  <a:gd name="connsiteX21" fmla="*/ 328131 w 1015656"/>
                  <a:gd name="connsiteY21" fmla="*/ 756109 h 853305"/>
                  <a:gd name="connsiteX22" fmla="*/ 328131 w 1015656"/>
                  <a:gd name="connsiteY22" fmla="*/ 776429 h 853305"/>
                  <a:gd name="connsiteX23" fmla="*/ 295720 w 1015656"/>
                  <a:gd name="connsiteY23" fmla="*/ 776429 h 853305"/>
                  <a:gd name="connsiteX24" fmla="*/ 295720 w 1015656"/>
                  <a:gd name="connsiteY24" fmla="*/ 832986 h 853305"/>
                  <a:gd name="connsiteX25" fmla="*/ 719934 w 1015656"/>
                  <a:gd name="connsiteY25" fmla="*/ 832986 h 853305"/>
                  <a:gd name="connsiteX26" fmla="*/ 719934 w 1015656"/>
                  <a:gd name="connsiteY26" fmla="*/ 776429 h 853305"/>
                  <a:gd name="connsiteX27" fmla="*/ 413170 w 1015656"/>
                  <a:gd name="connsiteY27" fmla="*/ 776429 h 853305"/>
                  <a:gd name="connsiteX28" fmla="*/ 413170 w 1015656"/>
                  <a:gd name="connsiteY28" fmla="*/ 756109 h 853305"/>
                  <a:gd name="connsiteX29" fmla="*/ 547790 w 1015656"/>
                  <a:gd name="connsiteY29" fmla="*/ 756109 h 853305"/>
                  <a:gd name="connsiteX30" fmla="*/ 547790 w 1015656"/>
                  <a:gd name="connsiteY30" fmla="*/ 563678 h 853305"/>
                  <a:gd name="connsiteX31" fmla="*/ 491978 w 1015656"/>
                  <a:gd name="connsiteY31" fmla="*/ 563678 h 853305"/>
                  <a:gd name="connsiteX32" fmla="*/ 491978 w 1015656"/>
                  <a:gd name="connsiteY32" fmla="*/ 731792 h 853305"/>
                  <a:gd name="connsiteX33" fmla="*/ 471658 w 1015656"/>
                  <a:gd name="connsiteY33" fmla="*/ 731792 h 853305"/>
                  <a:gd name="connsiteX34" fmla="*/ 471658 w 1015656"/>
                  <a:gd name="connsiteY34" fmla="*/ 563678 h 853305"/>
                  <a:gd name="connsiteX35" fmla="*/ 10157 w 1015656"/>
                  <a:gd name="connsiteY35" fmla="*/ 563678 h 853305"/>
                  <a:gd name="connsiteX36" fmla="*/ 0 w 1015656"/>
                  <a:gd name="connsiteY36" fmla="*/ 553515 h 853305"/>
                  <a:gd name="connsiteX37" fmla="*/ 166 w 1015656"/>
                  <a:gd name="connsiteY37" fmla="*/ 551689 h 853305"/>
                  <a:gd name="connsiteX38" fmla="*/ 99632 w 1015656"/>
                  <a:gd name="connsiteY38" fmla="*/ 8333 h 853305"/>
                  <a:gd name="connsiteX39" fmla="*/ 109792 w 1015656"/>
                  <a:gd name="connsiteY39" fmla="*/ 1 h 853305"/>
                  <a:gd name="connsiteX40" fmla="*/ 906032 w 1015656"/>
                  <a:gd name="connsiteY40" fmla="*/ 1 h 853305"/>
                  <a:gd name="connsiteX41" fmla="*/ 916022 w 1015656"/>
                  <a:gd name="connsiteY41" fmla="*/ 8333 h 853305"/>
                  <a:gd name="connsiteX42" fmla="*/ 912669 w 1015656"/>
                  <a:gd name="connsiteY42" fmla="*/ 499128 h 853305"/>
                  <a:gd name="connsiteX43" fmla="*/ 102985 w 1015656"/>
                  <a:gd name="connsiteY43" fmla="*/ 499128 h 853305"/>
                  <a:gd name="connsiteX44" fmla="*/ 92835 w 1015656"/>
                  <a:gd name="connsiteY44" fmla="*/ 488958 h 853305"/>
                  <a:gd name="connsiteX45" fmla="*/ 92994 w 1015656"/>
                  <a:gd name="connsiteY45" fmla="*/ 487173 h 853305"/>
                  <a:gd name="connsiteX46" fmla="*/ 167501 w 1015656"/>
                  <a:gd name="connsiteY46" fmla="*/ 72916 h 853305"/>
                  <a:gd name="connsiteX47" fmla="*/ 177661 w 1015656"/>
                  <a:gd name="connsiteY47" fmla="*/ 64551 h 853305"/>
                  <a:gd name="connsiteX48" fmla="*/ 838264 w 1015656"/>
                  <a:gd name="connsiteY48" fmla="*/ 64551 h 853305"/>
                  <a:gd name="connsiteX49" fmla="*/ 848424 w 1015656"/>
                  <a:gd name="connsiteY49" fmla="*/ 72916 h 853305"/>
                  <a:gd name="connsiteX50" fmla="*/ 922931 w 1015656"/>
                  <a:gd name="connsiteY50" fmla="*/ 487173 h 853305"/>
                  <a:gd name="connsiteX51" fmla="*/ 914725 w 1015656"/>
                  <a:gd name="connsiteY51" fmla="*/ 498969 h 853305"/>
                  <a:gd name="connsiteX52" fmla="*/ 912940 w 1015656"/>
                  <a:gd name="connsiteY52" fmla="*/ 499128 h 853305"/>
                  <a:gd name="connsiteX53" fmla="*/ 685627 w 1015656"/>
                  <a:gd name="connsiteY53" fmla="*/ 84871 h 853305"/>
                  <a:gd name="connsiteX54" fmla="*/ 703373 w 1015656"/>
                  <a:gd name="connsiteY54" fmla="*/ 261723 h 853305"/>
                  <a:gd name="connsiteX55" fmla="*/ 861531 w 1015656"/>
                  <a:gd name="connsiteY55" fmla="*/ 261723 h 853305"/>
                  <a:gd name="connsiteX56" fmla="*/ 829764 w 1015656"/>
                  <a:gd name="connsiteY56" fmla="*/ 84871 h 853305"/>
                  <a:gd name="connsiteX57" fmla="*/ 530044 w 1015656"/>
                  <a:gd name="connsiteY57" fmla="*/ 261723 h 853305"/>
                  <a:gd name="connsiteX58" fmla="*/ 682952 w 1015656"/>
                  <a:gd name="connsiteY58" fmla="*/ 261723 h 853305"/>
                  <a:gd name="connsiteX59" fmla="*/ 665206 w 1015656"/>
                  <a:gd name="connsiteY59" fmla="*/ 84871 h 853305"/>
                  <a:gd name="connsiteX60" fmla="*/ 530044 w 1015656"/>
                  <a:gd name="connsiteY60" fmla="*/ 84871 h 853305"/>
                  <a:gd name="connsiteX61" fmla="*/ 154124 w 1015656"/>
                  <a:gd name="connsiteY61" fmla="*/ 261723 h 853305"/>
                  <a:gd name="connsiteX62" fmla="*/ 312281 w 1015656"/>
                  <a:gd name="connsiteY62" fmla="*/ 261723 h 853305"/>
                  <a:gd name="connsiteX63" fmla="*/ 330027 w 1015656"/>
                  <a:gd name="connsiteY63" fmla="*/ 84871 h 853305"/>
                  <a:gd name="connsiteX64" fmla="*/ 185891 w 1015656"/>
                  <a:gd name="connsiteY64" fmla="*/ 84871 h 853305"/>
                  <a:gd name="connsiteX65" fmla="*/ 310249 w 1015656"/>
                  <a:gd name="connsiteY65" fmla="*/ 282043 h 853305"/>
                  <a:gd name="connsiteX66" fmla="*/ 150466 w 1015656"/>
                  <a:gd name="connsiteY66" fmla="*/ 282043 h 853305"/>
                  <a:gd name="connsiteX67" fmla="*/ 115143 w 1015656"/>
                  <a:gd name="connsiteY67" fmla="*/ 478808 h 853305"/>
                  <a:gd name="connsiteX68" fmla="*/ 290471 w 1015656"/>
                  <a:gd name="connsiteY68" fmla="*/ 478808 h 853305"/>
                  <a:gd name="connsiteX69" fmla="*/ 509724 w 1015656"/>
                  <a:gd name="connsiteY69" fmla="*/ 282043 h 853305"/>
                  <a:gd name="connsiteX70" fmla="*/ 330671 w 1015656"/>
                  <a:gd name="connsiteY70" fmla="*/ 282043 h 853305"/>
                  <a:gd name="connsiteX71" fmla="*/ 310893 w 1015656"/>
                  <a:gd name="connsiteY71" fmla="*/ 478808 h 853305"/>
                  <a:gd name="connsiteX72" fmla="*/ 509724 w 1015656"/>
                  <a:gd name="connsiteY72" fmla="*/ 478808 h 853305"/>
                  <a:gd name="connsiteX73" fmla="*/ 509724 w 1015656"/>
                  <a:gd name="connsiteY73" fmla="*/ 84871 h 853305"/>
                  <a:gd name="connsiteX74" fmla="*/ 350550 w 1015656"/>
                  <a:gd name="connsiteY74" fmla="*/ 84871 h 853305"/>
                  <a:gd name="connsiteX75" fmla="*/ 332804 w 1015656"/>
                  <a:gd name="connsiteY75" fmla="*/ 261723 h 853305"/>
                  <a:gd name="connsiteX76" fmla="*/ 509825 w 1015656"/>
                  <a:gd name="connsiteY76" fmla="*/ 261723 h 853305"/>
                  <a:gd name="connsiteX77" fmla="*/ 704762 w 1015656"/>
                  <a:gd name="connsiteY77" fmla="*/ 478808 h 853305"/>
                  <a:gd name="connsiteX78" fmla="*/ 684984 w 1015656"/>
                  <a:gd name="connsiteY78" fmla="*/ 282043 h 853305"/>
                  <a:gd name="connsiteX79" fmla="*/ 530044 w 1015656"/>
                  <a:gd name="connsiteY79" fmla="*/ 282043 h 853305"/>
                  <a:gd name="connsiteX80" fmla="*/ 530044 w 1015656"/>
                  <a:gd name="connsiteY80" fmla="*/ 478808 h 853305"/>
                  <a:gd name="connsiteX81" fmla="*/ 900511 w 1015656"/>
                  <a:gd name="connsiteY81" fmla="*/ 478808 h 853305"/>
                  <a:gd name="connsiteX82" fmla="*/ 865188 w 1015656"/>
                  <a:gd name="connsiteY82" fmla="*/ 282043 h 853305"/>
                  <a:gd name="connsiteX83" fmla="*/ 705405 w 1015656"/>
                  <a:gd name="connsiteY83" fmla="*/ 282043 h 853305"/>
                  <a:gd name="connsiteX84" fmla="*/ 725184 w 1015656"/>
                  <a:gd name="connsiteY84" fmla="*/ 478808 h 853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1015656" h="853305">
                    <a:moveTo>
                      <a:pt x="1015489" y="551689"/>
                    </a:moveTo>
                    <a:cubicBezTo>
                      <a:pt x="1016498" y="557210"/>
                      <a:pt x="1012844" y="562503"/>
                      <a:pt x="1007323" y="563512"/>
                    </a:cubicBezTo>
                    <a:cubicBezTo>
                      <a:pt x="1006721" y="563624"/>
                      <a:pt x="1006111" y="563678"/>
                      <a:pt x="1005498" y="563678"/>
                    </a:cubicBezTo>
                    <a:lnTo>
                      <a:pt x="826174" y="563678"/>
                    </a:lnTo>
                    <a:lnTo>
                      <a:pt x="826174" y="543358"/>
                    </a:lnTo>
                    <a:lnTo>
                      <a:pt x="993238" y="543358"/>
                    </a:lnTo>
                    <a:lnTo>
                      <a:pt x="897565" y="20186"/>
                    </a:lnTo>
                    <a:lnTo>
                      <a:pt x="118090" y="20186"/>
                    </a:lnTo>
                    <a:lnTo>
                      <a:pt x="22349" y="543358"/>
                    </a:lnTo>
                    <a:lnTo>
                      <a:pt x="693688" y="543358"/>
                    </a:lnTo>
                    <a:lnTo>
                      <a:pt x="693688" y="563678"/>
                    </a:lnTo>
                    <a:lnTo>
                      <a:pt x="568110" y="563678"/>
                    </a:lnTo>
                    <a:lnTo>
                      <a:pt x="568110" y="755973"/>
                    </a:lnTo>
                    <a:lnTo>
                      <a:pt x="730094" y="755973"/>
                    </a:lnTo>
                    <a:cubicBezTo>
                      <a:pt x="735706" y="755973"/>
                      <a:pt x="740254" y="760521"/>
                      <a:pt x="740254" y="766133"/>
                    </a:cubicBezTo>
                    <a:lnTo>
                      <a:pt x="740254" y="843146"/>
                    </a:lnTo>
                    <a:cubicBezTo>
                      <a:pt x="740254" y="848758"/>
                      <a:pt x="735706" y="853306"/>
                      <a:pt x="730094" y="853306"/>
                    </a:cubicBezTo>
                    <a:lnTo>
                      <a:pt x="285560" y="853306"/>
                    </a:lnTo>
                    <a:cubicBezTo>
                      <a:pt x="279949" y="853306"/>
                      <a:pt x="275400" y="848758"/>
                      <a:pt x="275400" y="843146"/>
                    </a:cubicBezTo>
                    <a:lnTo>
                      <a:pt x="275400" y="766269"/>
                    </a:lnTo>
                    <a:cubicBezTo>
                      <a:pt x="275400" y="760657"/>
                      <a:pt x="279949" y="756109"/>
                      <a:pt x="285560" y="756109"/>
                    </a:cubicBezTo>
                    <a:lnTo>
                      <a:pt x="328131" y="756109"/>
                    </a:lnTo>
                    <a:lnTo>
                      <a:pt x="328131" y="776429"/>
                    </a:lnTo>
                    <a:lnTo>
                      <a:pt x="295720" y="776429"/>
                    </a:lnTo>
                    <a:lnTo>
                      <a:pt x="295720" y="832986"/>
                    </a:lnTo>
                    <a:lnTo>
                      <a:pt x="719934" y="832986"/>
                    </a:lnTo>
                    <a:lnTo>
                      <a:pt x="719934" y="776429"/>
                    </a:lnTo>
                    <a:lnTo>
                      <a:pt x="413170" y="776429"/>
                    </a:lnTo>
                    <a:lnTo>
                      <a:pt x="413170" y="756109"/>
                    </a:lnTo>
                    <a:lnTo>
                      <a:pt x="547790" y="756109"/>
                    </a:lnTo>
                    <a:lnTo>
                      <a:pt x="547790" y="563678"/>
                    </a:lnTo>
                    <a:lnTo>
                      <a:pt x="491978" y="563678"/>
                    </a:lnTo>
                    <a:lnTo>
                      <a:pt x="491978" y="731792"/>
                    </a:lnTo>
                    <a:lnTo>
                      <a:pt x="471658" y="731792"/>
                    </a:lnTo>
                    <a:lnTo>
                      <a:pt x="471658" y="563678"/>
                    </a:lnTo>
                    <a:lnTo>
                      <a:pt x="10157" y="563678"/>
                    </a:lnTo>
                    <a:cubicBezTo>
                      <a:pt x="4545" y="563675"/>
                      <a:pt x="-2" y="559127"/>
                      <a:pt x="0" y="553515"/>
                    </a:cubicBezTo>
                    <a:cubicBezTo>
                      <a:pt x="0" y="552902"/>
                      <a:pt x="56" y="552292"/>
                      <a:pt x="166" y="551689"/>
                    </a:cubicBezTo>
                    <a:lnTo>
                      <a:pt x="99632" y="8333"/>
                    </a:lnTo>
                    <a:cubicBezTo>
                      <a:pt x="100526" y="3445"/>
                      <a:pt x="104824" y="-80"/>
                      <a:pt x="109792" y="1"/>
                    </a:cubicBezTo>
                    <a:lnTo>
                      <a:pt x="906032" y="1"/>
                    </a:lnTo>
                    <a:cubicBezTo>
                      <a:pt x="910936" y="3"/>
                      <a:pt x="915138" y="3508"/>
                      <a:pt x="916022" y="8333"/>
                    </a:cubicBezTo>
                    <a:close/>
                    <a:moveTo>
                      <a:pt x="912669" y="499128"/>
                    </a:moveTo>
                    <a:lnTo>
                      <a:pt x="102985" y="499128"/>
                    </a:lnTo>
                    <a:cubicBezTo>
                      <a:pt x="97374" y="499122"/>
                      <a:pt x="92830" y="494570"/>
                      <a:pt x="92835" y="488958"/>
                    </a:cubicBezTo>
                    <a:cubicBezTo>
                      <a:pt x="92835" y="488359"/>
                      <a:pt x="92889" y="487763"/>
                      <a:pt x="92994" y="487173"/>
                    </a:cubicBezTo>
                    <a:lnTo>
                      <a:pt x="167501" y="72916"/>
                    </a:lnTo>
                    <a:cubicBezTo>
                      <a:pt x="168380" y="68015"/>
                      <a:pt x="172682" y="64473"/>
                      <a:pt x="177661" y="64551"/>
                    </a:cubicBezTo>
                    <a:lnTo>
                      <a:pt x="838264" y="64551"/>
                    </a:lnTo>
                    <a:cubicBezTo>
                      <a:pt x="843243" y="64473"/>
                      <a:pt x="847544" y="68015"/>
                      <a:pt x="848424" y="72916"/>
                    </a:cubicBezTo>
                    <a:lnTo>
                      <a:pt x="922931" y="487173"/>
                    </a:lnTo>
                    <a:cubicBezTo>
                      <a:pt x="923923" y="492697"/>
                      <a:pt x="920249" y="497977"/>
                      <a:pt x="914725" y="498969"/>
                    </a:cubicBezTo>
                    <a:cubicBezTo>
                      <a:pt x="914136" y="499074"/>
                      <a:pt x="913540" y="499128"/>
                      <a:pt x="912940" y="499128"/>
                    </a:cubicBezTo>
                    <a:close/>
                    <a:moveTo>
                      <a:pt x="685627" y="84871"/>
                    </a:moveTo>
                    <a:lnTo>
                      <a:pt x="703373" y="261723"/>
                    </a:lnTo>
                    <a:lnTo>
                      <a:pt x="861531" y="261723"/>
                    </a:lnTo>
                    <a:lnTo>
                      <a:pt x="829764" y="84871"/>
                    </a:lnTo>
                    <a:close/>
                    <a:moveTo>
                      <a:pt x="530044" y="261723"/>
                    </a:moveTo>
                    <a:lnTo>
                      <a:pt x="682952" y="261723"/>
                    </a:lnTo>
                    <a:lnTo>
                      <a:pt x="665206" y="84871"/>
                    </a:lnTo>
                    <a:lnTo>
                      <a:pt x="530044" y="84871"/>
                    </a:lnTo>
                    <a:close/>
                    <a:moveTo>
                      <a:pt x="154124" y="261723"/>
                    </a:moveTo>
                    <a:lnTo>
                      <a:pt x="312281" y="261723"/>
                    </a:lnTo>
                    <a:lnTo>
                      <a:pt x="330027" y="84871"/>
                    </a:lnTo>
                    <a:lnTo>
                      <a:pt x="185891" y="84871"/>
                    </a:lnTo>
                    <a:close/>
                    <a:moveTo>
                      <a:pt x="310249" y="282043"/>
                    </a:moveTo>
                    <a:lnTo>
                      <a:pt x="150466" y="282043"/>
                    </a:lnTo>
                    <a:lnTo>
                      <a:pt x="115143" y="478808"/>
                    </a:lnTo>
                    <a:lnTo>
                      <a:pt x="290471" y="478808"/>
                    </a:lnTo>
                    <a:close/>
                    <a:moveTo>
                      <a:pt x="509724" y="282043"/>
                    </a:moveTo>
                    <a:lnTo>
                      <a:pt x="330671" y="282043"/>
                    </a:lnTo>
                    <a:lnTo>
                      <a:pt x="310893" y="478808"/>
                    </a:lnTo>
                    <a:lnTo>
                      <a:pt x="509724" y="478808"/>
                    </a:lnTo>
                    <a:close/>
                    <a:moveTo>
                      <a:pt x="509724" y="84871"/>
                    </a:moveTo>
                    <a:lnTo>
                      <a:pt x="350550" y="84871"/>
                    </a:lnTo>
                    <a:lnTo>
                      <a:pt x="332804" y="261723"/>
                    </a:lnTo>
                    <a:lnTo>
                      <a:pt x="509825" y="261723"/>
                    </a:lnTo>
                    <a:close/>
                    <a:moveTo>
                      <a:pt x="704762" y="478808"/>
                    </a:moveTo>
                    <a:lnTo>
                      <a:pt x="684984" y="282043"/>
                    </a:lnTo>
                    <a:lnTo>
                      <a:pt x="530044" y="282043"/>
                    </a:lnTo>
                    <a:lnTo>
                      <a:pt x="530044" y="478808"/>
                    </a:lnTo>
                    <a:close/>
                    <a:moveTo>
                      <a:pt x="900511" y="478808"/>
                    </a:moveTo>
                    <a:lnTo>
                      <a:pt x="865188" y="282043"/>
                    </a:lnTo>
                    <a:lnTo>
                      <a:pt x="705405" y="282043"/>
                    </a:lnTo>
                    <a:lnTo>
                      <a:pt x="725184" y="478808"/>
                    </a:lnTo>
                    <a:close/>
                  </a:path>
                </a:pathLst>
              </a:custGeom>
              <a:grpFill/>
              <a:ln w="33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EON Brix Sans"/>
                </a:endParaRPr>
              </a:p>
            </p:txBody>
          </p:sp>
        </p:grpSp>
      </p:grpSp>
      <p:sp>
        <p:nvSpPr>
          <p:cNvPr id="154" name="ee4p_icon">
            <a:extLst>
              <a:ext uri="{FF2B5EF4-FFF2-40B4-BE49-F238E27FC236}">
                <a16:creationId xmlns:a16="http://schemas.microsoft.com/office/drawing/2014/main" id="{02545DE8-497A-543F-B83B-69EC60F49E42}"/>
              </a:ext>
            </a:extLst>
          </p:cNvPr>
          <p:cNvSpPr>
            <a:spLocks noChangeAspect="1"/>
          </p:cNvSpPr>
          <p:nvPr/>
        </p:nvSpPr>
        <p:spPr>
          <a:xfrm>
            <a:off x="6145609" y="3744122"/>
            <a:ext cx="215258" cy="206206"/>
          </a:xfrm>
          <a:custGeom>
            <a:avLst/>
            <a:gdLst>
              <a:gd name="connsiteX0" fmla="*/ 1006246 w 1016406"/>
              <a:gd name="connsiteY0" fmla="*/ 855506 h 973666"/>
              <a:gd name="connsiteX1" fmla="*/ 886460 w 1016406"/>
              <a:gd name="connsiteY1" fmla="*/ 855506 h 973666"/>
              <a:gd name="connsiteX2" fmla="*/ 886460 w 1016406"/>
              <a:gd name="connsiteY2" fmla="*/ 378257 h 973666"/>
              <a:gd name="connsiteX3" fmla="*/ 508203 w 1016406"/>
              <a:gd name="connsiteY3" fmla="*/ 0 h 973666"/>
              <a:gd name="connsiteX4" fmla="*/ 129946 w 1016406"/>
              <a:gd name="connsiteY4" fmla="*/ 378257 h 973666"/>
              <a:gd name="connsiteX5" fmla="*/ 129946 w 1016406"/>
              <a:gd name="connsiteY5" fmla="*/ 855777 h 973666"/>
              <a:gd name="connsiteX6" fmla="*/ 10160 w 1016406"/>
              <a:gd name="connsiteY6" fmla="*/ 855777 h 973666"/>
              <a:gd name="connsiteX7" fmla="*/ 0 w 1016406"/>
              <a:gd name="connsiteY7" fmla="*/ 865937 h 973666"/>
              <a:gd name="connsiteX8" fmla="*/ 0 w 1016406"/>
              <a:gd name="connsiteY8" fmla="*/ 963507 h 973666"/>
              <a:gd name="connsiteX9" fmla="*/ 10160 w 1016406"/>
              <a:gd name="connsiteY9" fmla="*/ 973667 h 973666"/>
              <a:gd name="connsiteX10" fmla="*/ 1006246 w 1016406"/>
              <a:gd name="connsiteY10" fmla="*/ 973667 h 973666"/>
              <a:gd name="connsiteX11" fmla="*/ 1016406 w 1016406"/>
              <a:gd name="connsiteY11" fmla="*/ 963507 h 973666"/>
              <a:gd name="connsiteX12" fmla="*/ 1016406 w 1016406"/>
              <a:gd name="connsiteY12" fmla="*/ 865666 h 973666"/>
              <a:gd name="connsiteX13" fmla="*/ 1006246 w 1016406"/>
              <a:gd name="connsiteY13" fmla="*/ 855506 h 973666"/>
              <a:gd name="connsiteX14" fmla="*/ 866140 w 1016406"/>
              <a:gd name="connsiteY14" fmla="*/ 855506 h 973666"/>
              <a:gd name="connsiteX15" fmla="*/ 752043 w 1016406"/>
              <a:gd name="connsiteY15" fmla="*/ 855506 h 973666"/>
              <a:gd name="connsiteX16" fmla="*/ 752043 w 1016406"/>
              <a:gd name="connsiteY16" fmla="*/ 667309 h 973666"/>
              <a:gd name="connsiteX17" fmla="*/ 866174 w 1016406"/>
              <a:gd name="connsiteY17" fmla="*/ 500753 h 973666"/>
              <a:gd name="connsiteX18" fmla="*/ 150266 w 1016406"/>
              <a:gd name="connsiteY18" fmla="*/ 500482 h 973666"/>
              <a:gd name="connsiteX19" fmla="*/ 265582 w 1016406"/>
              <a:gd name="connsiteY19" fmla="*/ 668088 h 973666"/>
              <a:gd name="connsiteX20" fmla="*/ 265582 w 1016406"/>
              <a:gd name="connsiteY20" fmla="*/ 855506 h 973666"/>
              <a:gd name="connsiteX21" fmla="*/ 150436 w 1016406"/>
              <a:gd name="connsiteY21" fmla="*/ 855506 h 973666"/>
              <a:gd name="connsiteX22" fmla="*/ 498043 w 1016406"/>
              <a:gd name="connsiteY22" fmla="*/ 855506 h 973666"/>
              <a:gd name="connsiteX23" fmla="*/ 285902 w 1016406"/>
              <a:gd name="connsiteY23" fmla="*/ 855506 h 973666"/>
              <a:gd name="connsiteX24" fmla="*/ 285902 w 1016406"/>
              <a:gd name="connsiteY24" fmla="*/ 684005 h 973666"/>
              <a:gd name="connsiteX25" fmla="*/ 498043 w 1016406"/>
              <a:gd name="connsiteY25" fmla="*/ 756243 h 973666"/>
              <a:gd name="connsiteX26" fmla="*/ 996086 w 1016406"/>
              <a:gd name="connsiteY26" fmla="*/ 953076 h 973666"/>
              <a:gd name="connsiteX27" fmla="*/ 20320 w 1016406"/>
              <a:gd name="connsiteY27" fmla="*/ 953076 h 973666"/>
              <a:gd name="connsiteX28" fmla="*/ 20320 w 1016406"/>
              <a:gd name="connsiteY28" fmla="*/ 875826 h 973666"/>
              <a:gd name="connsiteX29" fmla="*/ 648648 w 1016406"/>
              <a:gd name="connsiteY29" fmla="*/ 875826 h 973666"/>
              <a:gd name="connsiteX30" fmla="*/ 648648 w 1016406"/>
              <a:gd name="connsiteY30" fmla="*/ 855506 h 973666"/>
              <a:gd name="connsiteX31" fmla="*/ 518363 w 1016406"/>
              <a:gd name="connsiteY31" fmla="*/ 855506 h 973666"/>
              <a:gd name="connsiteX32" fmla="*/ 518363 w 1016406"/>
              <a:gd name="connsiteY32" fmla="*/ 756243 h 973666"/>
              <a:gd name="connsiteX33" fmla="*/ 675538 w 1016406"/>
              <a:gd name="connsiteY33" fmla="*/ 717465 h 973666"/>
              <a:gd name="connsiteX34" fmla="*/ 666530 w 1016406"/>
              <a:gd name="connsiteY34" fmla="*/ 699245 h 973666"/>
              <a:gd name="connsiteX35" fmla="*/ 518363 w 1016406"/>
              <a:gd name="connsiteY35" fmla="*/ 735923 h 973666"/>
              <a:gd name="connsiteX36" fmla="*/ 518363 w 1016406"/>
              <a:gd name="connsiteY36" fmla="*/ 378257 h 973666"/>
              <a:gd name="connsiteX37" fmla="*/ 498043 w 1016406"/>
              <a:gd name="connsiteY37" fmla="*/ 378257 h 973666"/>
              <a:gd name="connsiteX38" fmla="*/ 498043 w 1016406"/>
              <a:gd name="connsiteY38" fmla="*/ 735923 h 973666"/>
              <a:gd name="connsiteX39" fmla="*/ 285902 w 1016406"/>
              <a:gd name="connsiteY39" fmla="*/ 658470 h 973666"/>
              <a:gd name="connsiteX40" fmla="*/ 285902 w 1016406"/>
              <a:gd name="connsiteY40" fmla="*/ 378257 h 973666"/>
              <a:gd name="connsiteX41" fmla="*/ 265582 w 1016406"/>
              <a:gd name="connsiteY41" fmla="*/ 378257 h 973666"/>
              <a:gd name="connsiteX42" fmla="*/ 265582 w 1016406"/>
              <a:gd name="connsiteY42" fmla="*/ 641062 h 973666"/>
              <a:gd name="connsiteX43" fmla="*/ 245439 w 1016406"/>
              <a:gd name="connsiteY43" fmla="*/ 135408 h 973666"/>
              <a:gd name="connsiteX44" fmla="*/ 751092 w 1016406"/>
              <a:gd name="connsiteY44" fmla="*/ 115264 h 973666"/>
              <a:gd name="connsiteX45" fmla="*/ 771235 w 1016406"/>
              <a:gd name="connsiteY45" fmla="*/ 620918 h 973666"/>
              <a:gd name="connsiteX46" fmla="*/ 752043 w 1016406"/>
              <a:gd name="connsiteY46" fmla="*/ 640182 h 973666"/>
              <a:gd name="connsiteX47" fmla="*/ 752043 w 1016406"/>
              <a:gd name="connsiteY47" fmla="*/ 378257 h 973666"/>
              <a:gd name="connsiteX48" fmla="*/ 731723 w 1016406"/>
              <a:gd name="connsiteY48" fmla="*/ 378257 h 973666"/>
              <a:gd name="connsiteX49" fmla="*/ 731723 w 1016406"/>
              <a:gd name="connsiteY49" fmla="*/ 865937 h 973666"/>
              <a:gd name="connsiteX50" fmla="*/ 741883 w 1016406"/>
              <a:gd name="connsiteY50" fmla="*/ 876097 h 973666"/>
              <a:gd name="connsiteX51" fmla="*/ 996120 w 1016406"/>
              <a:gd name="connsiteY51" fmla="*/ 876097 h 973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016406" h="973666">
                <a:moveTo>
                  <a:pt x="1006246" y="855506"/>
                </a:moveTo>
                <a:lnTo>
                  <a:pt x="886460" y="855506"/>
                </a:lnTo>
                <a:lnTo>
                  <a:pt x="886460" y="378257"/>
                </a:lnTo>
                <a:cubicBezTo>
                  <a:pt x="886460" y="169351"/>
                  <a:pt x="717110" y="0"/>
                  <a:pt x="508203" y="0"/>
                </a:cubicBezTo>
                <a:cubicBezTo>
                  <a:pt x="299298" y="0"/>
                  <a:pt x="129946" y="169351"/>
                  <a:pt x="129946" y="378257"/>
                </a:cubicBezTo>
                <a:lnTo>
                  <a:pt x="129946" y="855777"/>
                </a:lnTo>
                <a:lnTo>
                  <a:pt x="10160" y="855777"/>
                </a:lnTo>
                <a:cubicBezTo>
                  <a:pt x="4549" y="855777"/>
                  <a:pt x="0" y="860325"/>
                  <a:pt x="0" y="865937"/>
                </a:cubicBezTo>
                <a:lnTo>
                  <a:pt x="0" y="963507"/>
                </a:lnTo>
                <a:cubicBezTo>
                  <a:pt x="0" y="969118"/>
                  <a:pt x="4549" y="973667"/>
                  <a:pt x="10160" y="973667"/>
                </a:cubicBezTo>
                <a:lnTo>
                  <a:pt x="1006246" y="973667"/>
                </a:lnTo>
                <a:cubicBezTo>
                  <a:pt x="1011858" y="973667"/>
                  <a:pt x="1016406" y="969118"/>
                  <a:pt x="1016406" y="963507"/>
                </a:cubicBezTo>
                <a:lnTo>
                  <a:pt x="1016406" y="865666"/>
                </a:lnTo>
                <a:cubicBezTo>
                  <a:pt x="1016406" y="860054"/>
                  <a:pt x="1011858" y="855506"/>
                  <a:pt x="1006246" y="855506"/>
                </a:cubicBezTo>
                <a:close/>
                <a:moveTo>
                  <a:pt x="866140" y="855506"/>
                </a:moveTo>
                <a:lnTo>
                  <a:pt x="752043" y="855506"/>
                </a:lnTo>
                <a:lnTo>
                  <a:pt x="752043" y="667309"/>
                </a:lnTo>
                <a:cubicBezTo>
                  <a:pt x="804496" y="623174"/>
                  <a:pt x="843947" y="565600"/>
                  <a:pt x="866174" y="500753"/>
                </a:cubicBezTo>
                <a:close/>
                <a:moveTo>
                  <a:pt x="150266" y="500482"/>
                </a:moveTo>
                <a:cubicBezTo>
                  <a:pt x="172725" y="565810"/>
                  <a:pt x="212599" y="623763"/>
                  <a:pt x="265582" y="668088"/>
                </a:cubicBezTo>
                <a:lnTo>
                  <a:pt x="265582" y="855506"/>
                </a:lnTo>
                <a:lnTo>
                  <a:pt x="150436" y="855506"/>
                </a:lnTo>
                <a:close/>
                <a:moveTo>
                  <a:pt x="498043" y="855506"/>
                </a:moveTo>
                <a:lnTo>
                  <a:pt x="285902" y="855506"/>
                </a:lnTo>
                <a:lnTo>
                  <a:pt x="285902" y="684005"/>
                </a:lnTo>
                <a:cubicBezTo>
                  <a:pt x="347635" y="729078"/>
                  <a:pt x="421633" y="754275"/>
                  <a:pt x="498043" y="756243"/>
                </a:cubicBezTo>
                <a:close/>
                <a:moveTo>
                  <a:pt x="996086" y="953076"/>
                </a:moveTo>
                <a:lnTo>
                  <a:pt x="20320" y="953076"/>
                </a:lnTo>
                <a:lnTo>
                  <a:pt x="20320" y="875826"/>
                </a:lnTo>
                <a:lnTo>
                  <a:pt x="648648" y="875826"/>
                </a:lnTo>
                <a:lnTo>
                  <a:pt x="648648" y="855506"/>
                </a:lnTo>
                <a:lnTo>
                  <a:pt x="518363" y="855506"/>
                </a:lnTo>
                <a:lnTo>
                  <a:pt x="518363" y="756243"/>
                </a:lnTo>
                <a:cubicBezTo>
                  <a:pt x="572960" y="754952"/>
                  <a:pt x="626608" y="741717"/>
                  <a:pt x="675538" y="717465"/>
                </a:cubicBezTo>
                <a:lnTo>
                  <a:pt x="666530" y="699245"/>
                </a:lnTo>
                <a:cubicBezTo>
                  <a:pt x="620404" y="722125"/>
                  <a:pt x="569834" y="734643"/>
                  <a:pt x="518363" y="735923"/>
                </a:cubicBezTo>
                <a:lnTo>
                  <a:pt x="518363" y="378257"/>
                </a:lnTo>
                <a:lnTo>
                  <a:pt x="498043" y="378257"/>
                </a:lnTo>
                <a:lnTo>
                  <a:pt x="498043" y="735923"/>
                </a:lnTo>
                <a:cubicBezTo>
                  <a:pt x="420797" y="733809"/>
                  <a:pt x="346337" y="706625"/>
                  <a:pt x="285902" y="658470"/>
                </a:cubicBezTo>
                <a:lnTo>
                  <a:pt x="285902" y="378257"/>
                </a:lnTo>
                <a:lnTo>
                  <a:pt x="265582" y="378257"/>
                </a:lnTo>
                <a:lnTo>
                  <a:pt x="265582" y="641062"/>
                </a:lnTo>
                <a:cubicBezTo>
                  <a:pt x="120387" y="506991"/>
                  <a:pt x="111369" y="280603"/>
                  <a:pt x="245439" y="135408"/>
                </a:cubicBezTo>
                <a:cubicBezTo>
                  <a:pt x="379510" y="-9787"/>
                  <a:pt x="605898" y="-18806"/>
                  <a:pt x="751092" y="115264"/>
                </a:cubicBezTo>
                <a:cubicBezTo>
                  <a:pt x="896288" y="249334"/>
                  <a:pt x="905307" y="475725"/>
                  <a:pt x="771235" y="620918"/>
                </a:cubicBezTo>
                <a:cubicBezTo>
                  <a:pt x="765085" y="627580"/>
                  <a:pt x="758684" y="634008"/>
                  <a:pt x="752043" y="640182"/>
                </a:cubicBezTo>
                <a:lnTo>
                  <a:pt x="752043" y="378257"/>
                </a:lnTo>
                <a:lnTo>
                  <a:pt x="731723" y="378257"/>
                </a:lnTo>
                <a:lnTo>
                  <a:pt x="731723" y="865937"/>
                </a:lnTo>
                <a:cubicBezTo>
                  <a:pt x="731723" y="871549"/>
                  <a:pt x="736272" y="876097"/>
                  <a:pt x="741883" y="876097"/>
                </a:cubicBezTo>
                <a:lnTo>
                  <a:pt x="996120" y="876097"/>
                </a:lnTo>
                <a:close/>
              </a:path>
            </a:pathLst>
          </a:custGeom>
          <a:solidFill>
            <a:schemeClr val="accent2"/>
          </a:solidFill>
          <a:ln w="336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EON Brix Sans"/>
            </a:endParaRP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48F8BFAB-962A-51AA-BB55-263D7791C605}"/>
              </a:ext>
            </a:extLst>
          </p:cNvPr>
          <p:cNvSpPr txBox="1"/>
          <p:nvPr/>
        </p:nvSpPr>
        <p:spPr>
          <a:xfrm>
            <a:off x="8410849" y="3433464"/>
            <a:ext cx="2893343" cy="1843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defTabSz="540000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de-DE" sz="1400">
                <a:solidFill>
                  <a:schemeClr val="accent1">
                    <a:lumMod val="75000"/>
                  </a:schemeClr>
                </a:solidFill>
              </a:rPr>
              <a:t>Es werden Regeln für Betriebsbereiche durch den Netzbetreiber vorgegeben, welche sich nach der lokalen EE-Einspeiseprognosen richten</a:t>
            </a:r>
          </a:p>
          <a:p>
            <a:pPr marL="171450" indent="-171450" defTabSz="540000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de-DE" sz="1400">
                <a:solidFill>
                  <a:schemeClr val="accent1">
                    <a:lumMod val="75000"/>
                  </a:schemeClr>
                </a:solidFill>
              </a:rPr>
              <a:t>Deckt weitere windgetriebene Netze ab</a:t>
            </a:r>
          </a:p>
        </p:txBody>
      </p:sp>
      <p:sp>
        <p:nvSpPr>
          <p:cNvPr id="158" name="Textfeld 157">
            <a:extLst>
              <a:ext uri="{FF2B5EF4-FFF2-40B4-BE49-F238E27FC236}">
                <a16:creationId xmlns:a16="http://schemas.microsoft.com/office/drawing/2014/main" id="{37B6DB99-049F-85DE-D63F-230F388BBC9F}"/>
              </a:ext>
            </a:extLst>
          </p:cNvPr>
          <p:cNvSpPr txBox="1"/>
          <p:nvPr/>
        </p:nvSpPr>
        <p:spPr>
          <a:xfrm>
            <a:off x="6117313" y="2499163"/>
            <a:ext cx="2476904" cy="758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r>
              <a:rPr lang="de-DE" sz="1400" b="1">
                <a:solidFill>
                  <a:srgbClr val="1B4379"/>
                </a:solidFill>
              </a:rPr>
              <a:t>Einspeisebeschränkung bei hoher prognostizierter PV/Wind-Einspeisung</a:t>
            </a:r>
          </a:p>
        </p:txBody>
      </p:sp>
      <p:pic>
        <p:nvPicPr>
          <p:cNvPr id="170" name="Grafik 169">
            <a:extLst>
              <a:ext uri="{FF2B5EF4-FFF2-40B4-BE49-F238E27FC236}">
                <a16:creationId xmlns:a16="http://schemas.microsoft.com/office/drawing/2014/main" id="{50D37BF1-EDC5-E1E6-7E6F-78521A3035A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668846" y="2469181"/>
            <a:ext cx="483285" cy="483285"/>
          </a:xfrm>
          <a:prstGeom prst="rect">
            <a:avLst/>
          </a:prstGeom>
        </p:spPr>
      </p:pic>
      <p:sp>
        <p:nvSpPr>
          <p:cNvPr id="171" name="Textfeld 170">
            <a:extLst>
              <a:ext uri="{FF2B5EF4-FFF2-40B4-BE49-F238E27FC236}">
                <a16:creationId xmlns:a16="http://schemas.microsoft.com/office/drawing/2014/main" id="{7C94FE81-71D6-3C54-306E-AE661D2B8F7A}"/>
              </a:ext>
            </a:extLst>
          </p:cNvPr>
          <p:cNvSpPr txBox="1"/>
          <p:nvPr/>
        </p:nvSpPr>
        <p:spPr>
          <a:xfrm>
            <a:off x="8910488" y="2499163"/>
            <a:ext cx="2597416" cy="4998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r>
              <a:rPr lang="de-DE" sz="1400" b="1">
                <a:solidFill>
                  <a:srgbClr val="1B4379"/>
                </a:solidFill>
              </a:rPr>
              <a:t>Ziel „</a:t>
            </a:r>
            <a:r>
              <a:rPr lang="de-DE" sz="1400" b="1" i="1">
                <a:solidFill>
                  <a:srgbClr val="1B4379"/>
                </a:solidFill>
              </a:rPr>
              <a:t>Erweiterung um auch </a:t>
            </a:r>
            <a:br>
              <a:rPr lang="de-DE" sz="1400" b="1" i="1">
                <a:solidFill>
                  <a:srgbClr val="1B4379"/>
                </a:solidFill>
              </a:rPr>
            </a:br>
            <a:r>
              <a:rPr lang="de-DE" sz="1400" b="1" i="1">
                <a:solidFill>
                  <a:srgbClr val="1B4379"/>
                </a:solidFill>
              </a:rPr>
              <a:t>Windgebiete abzudecken“</a:t>
            </a:r>
          </a:p>
        </p:txBody>
      </p:sp>
    </p:spTree>
    <p:extLst>
      <p:ext uri="{BB962C8B-B14F-4D97-AF65-F5344CB8AC3E}">
        <p14:creationId xmlns:p14="http://schemas.microsoft.com/office/powerpoint/2010/main" val="28889521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D07341-3F88-CA04-CEB6-D8A7DAFADD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B565F92-C82F-2D38-3DBB-134A77AB0C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FFFE70-FC19-4A94-9D10-0B3C8E890CB2}" type="slidenum">
              <a:rPr kumimoji="0" lang="en-GB" sz="90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EON Brix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9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EON Brix Sans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A18C61E-11A1-245C-06AB-0DEDEE3055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Regelbasierte Einschränkung – Was bedeutet das?</a:t>
            </a:r>
          </a:p>
        </p:txBody>
      </p:sp>
      <p:sp>
        <p:nvSpPr>
          <p:cNvPr id="5" name="Textfeld 44">
            <a:extLst>
              <a:ext uri="{FF2B5EF4-FFF2-40B4-BE49-F238E27FC236}">
                <a16:creationId xmlns:a16="http://schemas.microsoft.com/office/drawing/2014/main" id="{D8DAE194-199B-76D8-2F7F-EF17269C5E94}"/>
              </a:ext>
            </a:extLst>
          </p:cNvPr>
          <p:cNvSpPr txBox="1"/>
          <p:nvPr/>
        </p:nvSpPr>
        <p:spPr>
          <a:xfrm>
            <a:off x="2578888" y="5705019"/>
            <a:ext cx="210993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39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kale PV/Windleistung 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E0DAE8FD-DCA8-35D9-030A-48D87E6467CA}"/>
              </a:ext>
            </a:extLst>
          </p:cNvPr>
          <p:cNvGrpSpPr/>
          <p:nvPr/>
        </p:nvGrpSpPr>
        <p:grpSpPr>
          <a:xfrm>
            <a:off x="2032219" y="5592020"/>
            <a:ext cx="546669" cy="333695"/>
            <a:chOff x="2506927" y="2901332"/>
            <a:chExt cx="546669" cy="333695"/>
          </a:xfrm>
        </p:grpSpPr>
        <p:pic>
          <p:nvPicPr>
            <p:cNvPr id="8" name="Windrad">
              <a:extLst>
                <a:ext uri="{FF2B5EF4-FFF2-40B4-BE49-F238E27FC236}">
                  <a16:creationId xmlns:a16="http://schemas.microsoft.com/office/drawing/2014/main" id="{E10A849B-392D-94BB-B374-6C1768742A46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p:blipFill>
          <p:spPr>
            <a:xfrm>
              <a:off x="2767274" y="2948705"/>
              <a:ext cx="286322" cy="286322"/>
            </a:xfrm>
            <a:prstGeom prst="rect">
              <a:avLst/>
            </a:prstGeom>
          </p:spPr>
        </p:pic>
        <p:pic>
          <p:nvPicPr>
            <p:cNvPr id="9" name="Solarstrom">
              <a:extLst>
                <a:ext uri="{FF2B5EF4-FFF2-40B4-BE49-F238E27FC236}">
                  <a16:creationId xmlns:a16="http://schemas.microsoft.com/office/drawing/2014/main" id="{F23F2FCD-8C21-2F83-938D-0BAD8742C54D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506927" y="2901332"/>
              <a:ext cx="286322" cy="286322"/>
            </a:xfrm>
            <a:prstGeom prst="rect">
              <a:avLst/>
            </a:prstGeom>
          </p:spPr>
        </p:pic>
      </p:grpSp>
      <p:sp>
        <p:nvSpPr>
          <p:cNvPr id="28" name="Textfeld 44">
            <a:extLst>
              <a:ext uri="{FF2B5EF4-FFF2-40B4-BE49-F238E27FC236}">
                <a16:creationId xmlns:a16="http://schemas.microsoft.com/office/drawing/2014/main" id="{56121C26-7C29-07BA-FD96-58DCAA2814F3}"/>
              </a:ext>
            </a:extLst>
          </p:cNvPr>
          <p:cNvSpPr txBox="1"/>
          <p:nvPr/>
        </p:nvSpPr>
        <p:spPr>
          <a:xfrm>
            <a:off x="480000" y="4026498"/>
            <a:ext cx="2109937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39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Zulässige </a:t>
            </a:r>
            <a:b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inspeisung  </a:t>
            </a:r>
            <a:b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CA-Anlage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B44DD530-5205-C2A2-F4E7-328297AB24A1}"/>
              </a:ext>
            </a:extLst>
          </p:cNvPr>
          <p:cNvSpPr txBox="1"/>
          <p:nvPr/>
        </p:nvSpPr>
        <p:spPr>
          <a:xfrm>
            <a:off x="6052452" y="1816675"/>
            <a:ext cx="5948203" cy="40777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lvl="0" indent="-285750" algn="l" defTabSz="54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Bei der regelbasierten Beschränkung der Einspeisung wird </a:t>
            </a: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Einspeisung zu Zeiten lokaler EE-Spitzen eingeschränkt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.</a:t>
            </a:r>
          </a:p>
          <a:p>
            <a:pPr marL="285750" marR="0" lvl="0" indent="-285750" algn="l" defTabSz="54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Der </a:t>
            </a: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Netzbetreiber gibt hierzu die Regeln 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vor:</a:t>
            </a:r>
          </a:p>
          <a:p>
            <a:pPr marL="800100" marR="0" lvl="1" indent="-342900" algn="l" defTabSz="54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Zulässige Betriebsbereiche 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in Abhängigkeit der prognostizierten lokalen EE-Einspeisung</a:t>
            </a:r>
          </a:p>
          <a:p>
            <a:pPr marL="800100" marR="0" lvl="1" indent="-342900" algn="l" defTabSz="54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Definition Referenzanlagen nahe FCA-Standort 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für die Bestimmung der lokalen EE-Einspeisung</a:t>
            </a:r>
          </a:p>
          <a:p>
            <a:pPr marL="285750" marR="0" lvl="0" indent="-285750" algn="l" defTabSz="54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Der Anlagenbetreiber darf sich </a:t>
            </a: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innerhalb der resultierenden Betriebsbereiche verhalten 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und stellt selbstständig die Einhaltung dieser sicher.</a:t>
            </a:r>
          </a:p>
          <a:p>
            <a:pPr marL="285750" marR="0" lvl="0" indent="-285750" algn="l" defTabSz="54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Der Netzbetreiber muss die </a:t>
            </a: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Einhaltung der Betriebsbereiche kontrollieren und bei Verstößen sanktionieren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.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321E2CD6-CAD4-0AB4-E490-63BE49DEE89A}"/>
              </a:ext>
            </a:extLst>
          </p:cNvPr>
          <p:cNvSpPr txBox="1"/>
          <p:nvPr/>
        </p:nvSpPr>
        <p:spPr>
          <a:xfrm>
            <a:off x="681551" y="1516340"/>
            <a:ext cx="5127315" cy="6426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Zulässige Betriebsbereiche Einspeiseseite für </a:t>
            </a:r>
            <a:br>
              <a:rPr lang="de-DE" sz="18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</a:b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einen dynamischen </a:t>
            </a:r>
            <a:r>
              <a:rPr lang="de-DE" b="1">
                <a:solidFill>
                  <a:schemeClr val="accent2"/>
                </a:solidFill>
              </a:rPr>
              <a:t>regelbasierten </a:t>
            </a: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FC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377B368-E779-D05B-323A-8E496AF860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55225" y="2196856"/>
            <a:ext cx="4210783" cy="3402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8822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87ECF0-C5DB-DCB3-2CBD-601F9EBB74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8BC20AF-A8DB-716B-6F2C-B44425E807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FFFE70-FC19-4A94-9D10-0B3C8E890CB2}" type="slidenum">
              <a:rPr kumimoji="0" lang="en-GB" sz="90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EON Brix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9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EON Brix Sans"/>
              <a:ea typeface="+mn-ea"/>
              <a:cs typeface="+mn-cs"/>
            </a:endParaRP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E5921DB5-B4F1-D764-BCC2-E9FD3FF25F5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ln>
            <a:noFill/>
          </a:ln>
        </p:spPr>
        <p:txBody>
          <a:bodyPr/>
          <a:lstStyle/>
          <a:p>
            <a:endParaRPr lang="en-GB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674DA8A-6961-EC6B-A721-4F36CB94E9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>
              <a:lnSpc>
                <a:spcPct val="120000"/>
              </a:lnSpc>
              <a:defRPr/>
            </a:pPr>
            <a:r>
              <a:rPr lang="de-DE" sz="1400"/>
              <a:t>Derzeit wird an einer technischen Lösung gearbeitet, mit der das </a:t>
            </a:r>
            <a:r>
              <a:rPr lang="de-DE" sz="1400" b="1"/>
              <a:t>Interesse an einem FCA direkt in der Anmeldestrecke </a:t>
            </a:r>
            <a:r>
              <a:rPr lang="de-DE" sz="1400"/>
              <a:t>angegeben werden kann. </a:t>
            </a:r>
          </a:p>
          <a:p>
            <a:pPr>
              <a:lnSpc>
                <a:spcPct val="120000"/>
              </a:lnSpc>
              <a:defRPr/>
            </a:pPr>
            <a:endParaRPr lang="de-DE" sz="1400"/>
          </a:p>
          <a:p>
            <a:pPr>
              <a:lnSpc>
                <a:spcPct val="120000"/>
              </a:lnSpc>
              <a:defRPr/>
            </a:pPr>
            <a:r>
              <a:rPr lang="de-DE" sz="1400"/>
              <a:t>Bis diese verfügbar ist, empfehlen wir, das Interesse </a:t>
            </a:r>
            <a:r>
              <a:rPr lang="de-DE" sz="1400" b="1"/>
              <a:t>über unser Kundenpostfach mitzuteilen.</a:t>
            </a:r>
            <a:endParaRPr lang="de-DE" sz="1400" b="1">
              <a:cs typeface="Arial"/>
            </a:endParaRPr>
          </a:p>
          <a:p>
            <a:pPr marL="512550" indent="-285750">
              <a:lnSpc>
                <a:spcPct val="120000"/>
              </a:lnSpc>
              <a:buFont typeface="Arial" panose="020B0604020202020204" pitchFamily="34" charset="0"/>
              <a:buChar char="•"/>
              <a:defRPr/>
            </a:pPr>
            <a:r>
              <a:rPr lang="de-DE" sz="1200"/>
              <a:t>Für Projekte in der Mittelspannung richten Sie Ihre Anfrage gerne an:</a:t>
            </a:r>
            <a:r>
              <a:rPr lang="de-DE" sz="1200">
                <a:solidFill>
                  <a:srgbClr val="001959"/>
                </a:solidFill>
                <a:highlight>
                  <a:srgbClr val="F6F2F3"/>
                </a:highlight>
                <a:ea typeface="+mn-lt"/>
                <a:cs typeface="+mn-lt"/>
              </a:rPr>
              <a:t> </a:t>
            </a:r>
            <a:r>
              <a:rPr lang="de-DE" sz="1200" b="1">
                <a:solidFill>
                  <a:srgbClr val="001959"/>
                </a:solidFill>
                <a:highlight>
                  <a:srgbClr val="F6F2F3"/>
                </a:highlight>
                <a:ea typeface="+mn-lt"/>
                <a:cs typeface="+mn-lt"/>
                <a:hlinkClick r:id="rId2"/>
              </a:rPr>
              <a:t>einspeisen@sh-netz.com</a:t>
            </a:r>
            <a:r>
              <a:rPr lang="de-DE" sz="1200">
                <a:solidFill>
                  <a:srgbClr val="001959"/>
                </a:solidFill>
                <a:highlight>
                  <a:srgbClr val="F6F2F3"/>
                </a:highlight>
                <a:ea typeface="+mn-lt"/>
                <a:cs typeface="+mn-lt"/>
              </a:rPr>
              <a:t>. </a:t>
            </a:r>
            <a:endParaRPr lang="de-DE" sz="1200">
              <a:solidFill>
                <a:srgbClr val="000000"/>
              </a:solidFill>
              <a:ea typeface="+mn-lt"/>
              <a:cs typeface="+mn-lt"/>
            </a:endParaRPr>
          </a:p>
          <a:p>
            <a:pPr marL="512550" indent="-285750">
              <a:lnSpc>
                <a:spcPct val="120000"/>
              </a:lnSpc>
              <a:buFont typeface="Arial" panose="020B0604020202020204" pitchFamily="34" charset="0"/>
              <a:buChar char="•"/>
              <a:defRPr/>
            </a:pPr>
            <a:r>
              <a:rPr lang="de-DE" sz="1200"/>
              <a:t>Für Projekte in der Hochspannung richten Sie Ihre Anfrage gerne an:</a:t>
            </a:r>
            <a:r>
              <a:rPr lang="de-DE" sz="1200">
                <a:solidFill>
                  <a:srgbClr val="001959"/>
                </a:solidFill>
                <a:highlight>
                  <a:srgbClr val="F6F2F3"/>
                </a:highlight>
                <a:ea typeface="+mn-lt"/>
                <a:cs typeface="+mn-lt"/>
              </a:rPr>
              <a:t> </a:t>
            </a:r>
            <a:r>
              <a:rPr lang="de-DE" sz="1200" b="1">
                <a:solidFill>
                  <a:srgbClr val="001959"/>
                </a:solidFill>
                <a:highlight>
                  <a:srgbClr val="F6F2F3"/>
                </a:highlight>
                <a:ea typeface="+mn-lt"/>
                <a:cs typeface="+mn-lt"/>
                <a:hlinkClick r:id="rId3"/>
              </a:rPr>
              <a:t>eeg-hochspannung@sh-netz.com</a:t>
            </a:r>
            <a:r>
              <a:rPr lang="de-DE" sz="1200">
                <a:solidFill>
                  <a:srgbClr val="001959"/>
                </a:solidFill>
                <a:highlight>
                  <a:srgbClr val="F6F2F3"/>
                </a:highlight>
                <a:ea typeface="+mn-lt"/>
                <a:cs typeface="+mn-lt"/>
              </a:rPr>
              <a:t>.</a:t>
            </a:r>
            <a:endParaRPr lang="de-DE" sz="1200"/>
          </a:p>
          <a:p>
            <a:pPr>
              <a:lnSpc>
                <a:spcPct val="120000"/>
              </a:lnSpc>
              <a:defRPr/>
            </a:pPr>
            <a:endParaRPr lang="de-DE" sz="1400" b="1">
              <a:cs typeface="Arial"/>
            </a:endParaRPr>
          </a:p>
          <a:p>
            <a:pPr>
              <a:lnSpc>
                <a:spcPct val="120000"/>
              </a:lnSpc>
              <a:defRPr/>
            </a:pPr>
            <a:r>
              <a:rPr lang="de-DE" sz="1400" b="1">
                <a:cs typeface="Arial"/>
              </a:rPr>
              <a:t>Musterverträge FCA werden nicht zum Download </a:t>
            </a:r>
            <a:r>
              <a:rPr lang="de-DE" sz="1400">
                <a:cs typeface="Arial"/>
              </a:rPr>
              <a:t>angeboten</a:t>
            </a:r>
          </a:p>
          <a:p>
            <a:pPr marL="515620" lvl="1" indent="-285750">
              <a:lnSpc>
                <a:spcPct val="120000"/>
              </a:lnSpc>
              <a:defRPr/>
            </a:pPr>
            <a:r>
              <a:rPr lang="de-DE" sz="1400">
                <a:cs typeface="Arial"/>
              </a:rPr>
              <a:t>Bei entsprechendem Umsetzungsfortschritt werden sie projektspezifisch bereitgestellt, identisch zu den regulären Netzanschlussverträgen (NAV)</a:t>
            </a:r>
          </a:p>
          <a:p>
            <a:endParaRPr lang="en-GB" sz="140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6B94C678-A32F-3030-592A-E3A90048F4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nmeldestrecke und FCA-Anfragen ab Rollout</a:t>
            </a:r>
            <a:endParaRPr lang="en-GB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BB3D9A6-3BDD-D29C-95C4-717A65F2F7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EF79820-CA48-35E0-2F7B-2BB087AF0A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26591" y="1363296"/>
            <a:ext cx="4731972" cy="4053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6993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FE94D5-C300-EB89-485A-CC97FEFDC1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70518EEA-C78F-1053-9C79-B6FDEF3D7C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6000" y="1773237"/>
            <a:ext cx="6768152" cy="4176000"/>
          </a:xfrm>
        </p:spPr>
        <p:txBody>
          <a:bodyPr/>
          <a:lstStyle/>
          <a:p>
            <a:pPr>
              <a:lnSpc>
                <a:spcPct val="120000"/>
              </a:lnSpc>
              <a:defRPr/>
            </a:pPr>
            <a:r>
              <a:rPr lang="de-DE" b="1">
                <a:solidFill>
                  <a:schemeClr val="accent2"/>
                </a:solidFill>
              </a:rPr>
              <a:t>Unser Ziel ist es, im Sommer 2026 </a:t>
            </a:r>
            <a:r>
              <a:rPr lang="de-DE">
                <a:solidFill>
                  <a:schemeClr val="accent2"/>
                </a:solidFill>
              </a:rPr>
              <a:t>mit dem Roll-Out unseres FCA-Portfolios für:</a:t>
            </a:r>
            <a:endParaRPr lang="en-US">
              <a:solidFill>
                <a:schemeClr val="accent2"/>
              </a:solidFill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  <a:defRPr/>
            </a:pPr>
            <a:r>
              <a:rPr lang="de-DE">
                <a:solidFill>
                  <a:schemeClr val="accent2"/>
                </a:solidFill>
              </a:rPr>
              <a:t>Batteriespeicher (Stand-Alone) 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  <a:defRPr/>
            </a:pPr>
            <a:r>
              <a:rPr lang="de-DE">
                <a:solidFill>
                  <a:schemeClr val="accent2"/>
                </a:solidFill>
              </a:rPr>
              <a:t>Batteriespeicher Co-Location (Grau- und Grünstrom)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  <a:defRPr/>
            </a:pPr>
            <a:r>
              <a:rPr lang="de-DE">
                <a:solidFill>
                  <a:schemeClr val="accent2"/>
                </a:solidFill>
              </a:rPr>
              <a:t>Regelbasierte Begrenzungen für Biogasanlagen</a:t>
            </a:r>
            <a:endParaRPr lang="de-DE">
              <a:solidFill>
                <a:schemeClr val="accent2"/>
              </a:solidFill>
              <a:cs typeface="Arial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  <a:defRPr/>
            </a:pPr>
            <a:r>
              <a:rPr lang="de-DE">
                <a:solidFill>
                  <a:schemeClr val="accent2"/>
                </a:solidFill>
              </a:rPr>
              <a:t>Überbauungen von EE-Anlagen mit PAV,E Regelung </a:t>
            </a:r>
          </a:p>
          <a:p>
            <a:pPr marL="914400" lvl="2" indent="0">
              <a:lnSpc>
                <a:spcPct val="120000"/>
              </a:lnSpc>
              <a:buNone/>
              <a:defRPr/>
            </a:pPr>
            <a:endParaRPr lang="de-DE" sz="1600">
              <a:solidFill>
                <a:schemeClr val="accent2"/>
              </a:solidFill>
            </a:endParaRPr>
          </a:p>
          <a:p>
            <a:pPr>
              <a:lnSpc>
                <a:spcPct val="120000"/>
              </a:lnSpc>
              <a:defRPr/>
            </a:pPr>
            <a:r>
              <a:rPr lang="de-DE">
                <a:solidFill>
                  <a:schemeClr val="accent2"/>
                </a:solidFill>
              </a:rPr>
              <a:t>Zusätzlich arbeiten wir im Hintergrund mit Hochdruck an der Anpassung</a:t>
            </a:r>
          </a:p>
          <a:p>
            <a:pPr>
              <a:lnSpc>
                <a:spcPct val="120000"/>
              </a:lnSpc>
              <a:defRPr/>
            </a:pPr>
            <a:r>
              <a:rPr lang="de-DE">
                <a:solidFill>
                  <a:schemeClr val="accent2"/>
                </a:solidFill>
              </a:rPr>
              <a:t> unserer Prozesse, IT-Systeme und Anmeldestrecken</a:t>
            </a:r>
          </a:p>
          <a:p>
            <a:pPr>
              <a:lnSpc>
                <a:spcPct val="120000"/>
              </a:lnSpc>
              <a:defRPr/>
            </a:pPr>
            <a:endParaRPr lang="de-DE">
              <a:solidFill>
                <a:schemeClr val="accent2"/>
              </a:solidFill>
            </a:endParaRPr>
          </a:p>
          <a:p>
            <a:pPr>
              <a:lnSpc>
                <a:spcPct val="120000"/>
              </a:lnSpc>
              <a:defRPr/>
            </a:pPr>
            <a:r>
              <a:rPr lang="de-DE" b="1">
                <a:solidFill>
                  <a:schemeClr val="accent2"/>
                </a:solidFill>
              </a:rPr>
              <a:t>Voraussetzung ist eine hinreichend abgeschlossene Pilotphase.</a:t>
            </a:r>
          </a:p>
          <a:p>
            <a:pPr marL="742950" lvl="1" indent="-285750">
              <a:lnSpc>
                <a:spcPct val="120000"/>
              </a:lnSpc>
              <a:defRPr/>
            </a:pPr>
            <a:r>
              <a:rPr lang="de-DE">
                <a:solidFill>
                  <a:schemeClr val="accent2"/>
                </a:solidFill>
                <a:highlight>
                  <a:srgbClr val="F6F2F3"/>
                </a:highlight>
              </a:rPr>
              <a:t>Newsletter</a:t>
            </a:r>
            <a:r>
              <a:rPr lang="de-DE">
                <a:solidFill>
                  <a:schemeClr val="accent2"/>
                </a:solidFill>
                <a:highlight>
                  <a:srgbClr val="F6F2F3"/>
                </a:highlight>
                <a:ea typeface="+mn-lt"/>
                <a:cs typeface="+mn-lt"/>
              </a:rPr>
              <a:t> </a:t>
            </a:r>
            <a:r>
              <a:rPr lang="de-DE">
                <a:solidFill>
                  <a:schemeClr val="accent2"/>
                </a:solidFill>
                <a:highlight>
                  <a:srgbClr val="F6F2F3"/>
                </a:highlight>
                <a:ea typeface="+mn-lt"/>
                <a:cs typeface="+mn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agen und Kontakt FCA</a:t>
            </a:r>
            <a:endParaRPr lang="de-DE">
              <a:solidFill>
                <a:schemeClr val="accent2"/>
              </a:solidFill>
              <a:ea typeface="+mn-lt"/>
              <a:cs typeface="+mn-lt"/>
            </a:endParaRPr>
          </a:p>
          <a:p>
            <a:pPr marL="742950" lvl="1" indent="-285750">
              <a:lnSpc>
                <a:spcPct val="120000"/>
              </a:lnSpc>
              <a:defRPr/>
            </a:pPr>
            <a:r>
              <a:rPr lang="de-DE">
                <a:solidFill>
                  <a:schemeClr val="accent2"/>
                </a:solidFill>
                <a:highlight>
                  <a:srgbClr val="F6F2F3"/>
                </a:highlight>
              </a:rPr>
              <a:t>Website</a:t>
            </a:r>
            <a:r>
              <a:rPr lang="de-DE">
                <a:solidFill>
                  <a:schemeClr val="accent2"/>
                </a:solidFill>
                <a:highlight>
                  <a:srgbClr val="F6F2F3"/>
                </a:highlight>
                <a:ea typeface="+mn-lt"/>
                <a:cs typeface="+mn-lt"/>
              </a:rPr>
              <a:t> mit ausführlichen FAQs </a:t>
            </a:r>
            <a:r>
              <a:rPr lang="de-DE">
                <a:solidFill>
                  <a:schemeClr val="accent2"/>
                </a:solidFill>
                <a:highlight>
                  <a:srgbClr val="F6F2F3"/>
                </a:highlight>
                <a:ea typeface="+mn-lt"/>
                <a:cs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CA - Biogasanlagen</a:t>
            </a:r>
            <a:endParaRPr lang="de-DE">
              <a:solidFill>
                <a:schemeClr val="accent2"/>
              </a:solidFill>
              <a:cs typeface="Arial"/>
            </a:endParaRPr>
          </a:p>
          <a:p>
            <a:pPr lvl="1">
              <a:lnSpc>
                <a:spcPct val="120000"/>
              </a:lnSpc>
              <a:buClrTx/>
              <a:defRPr/>
            </a:pPr>
            <a:endParaRPr lang="de-DE">
              <a:solidFill>
                <a:schemeClr val="accent2"/>
              </a:solidFill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>
              <a:solidFill>
                <a:schemeClr val="accent2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DCEA16E-0AE0-EE5F-6BBF-8E6BE4E0BC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FCAs für Biogas – Wie geht es weiter?</a:t>
            </a:r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C073839-D5D2-6578-695D-7439216353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55FA93E-A0DE-54AB-29DC-3C9BF2D072E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FFFE70-FC19-4A94-9D10-0B3C8E890CB2}" type="slidenum">
              <a:rPr kumimoji="0" lang="en-GB" sz="90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EON Brix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9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EON Brix Sans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4329AF5-0F8C-1A48-05A8-CB4D8B86CC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80176" y="1727027"/>
            <a:ext cx="4201258" cy="4305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809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4C2ECBD7-00BA-457A-A61D-83F17E9EAA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52000-F233-424B-BE1D-85370D294A4E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3D47969-3C5C-8F8F-71C7-3902F5217BA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Vielen Dank! </a:t>
            </a:r>
          </a:p>
          <a:p>
            <a:br>
              <a:rPr lang="de-DE"/>
            </a:br>
            <a:r>
              <a:rPr lang="de-DE"/>
              <a:t>Fragen? Gerne. 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F53695BC-CDD8-7A88-53D7-0525752106FC}"/>
              </a:ext>
            </a:extLst>
          </p:cNvPr>
          <p:cNvSpPr/>
          <p:nvPr/>
        </p:nvSpPr>
        <p:spPr>
          <a:xfrm>
            <a:off x="9098089" y="540376"/>
            <a:ext cx="3864644" cy="34470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de-DE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78914">
              <a:defRPr/>
            </a:pPr>
            <a:r>
              <a:rPr lang="de-DE" sz="1600" b="1" kern="0">
                <a:solidFill>
                  <a:srgbClr val="D7D7D7"/>
                </a:solidFill>
                <a:latin typeface="+mj-lt"/>
                <a:cs typeface="Arial"/>
                <a:sym typeface="Helvetica Light"/>
              </a:rPr>
              <a:t>Imke </a:t>
            </a:r>
            <a:r>
              <a:rPr lang="de-DE" sz="1600" b="1" kern="0" err="1">
                <a:solidFill>
                  <a:srgbClr val="D7D7D7"/>
                </a:solidFill>
                <a:latin typeface="+mj-lt"/>
                <a:cs typeface="Arial"/>
                <a:sym typeface="Helvetica Light"/>
              </a:rPr>
              <a:t>Hebbeln</a:t>
            </a:r>
            <a:endParaRPr lang="de-DE" sz="1600" b="1" kern="0" err="1">
              <a:solidFill>
                <a:srgbClr val="D7D7D7"/>
              </a:solidFill>
              <a:latin typeface="+mj-lt"/>
              <a:cs typeface="Arial" panose="020B0604020202020204" pitchFamily="34" charset="0"/>
              <a:sym typeface="Helvetica Light"/>
            </a:endParaRPr>
          </a:p>
          <a:p>
            <a:pPr lvl="0" defTabSz="778914">
              <a:defRPr/>
            </a:pPr>
            <a:r>
              <a:rPr lang="de-DE" sz="1600" kern="0">
                <a:solidFill>
                  <a:srgbClr val="D7D7D7"/>
                </a:solidFill>
                <a:latin typeface="+mj-lt"/>
                <a:cs typeface="Arial" panose="020B0604020202020204" pitchFamily="34" charset="0"/>
              </a:rPr>
              <a:t>OT-Projekte + Innovationen</a:t>
            </a:r>
          </a:p>
          <a:p>
            <a:pPr lvl="0" defTabSz="778914">
              <a:defRPr/>
            </a:pPr>
            <a:r>
              <a:rPr lang="de-DE" sz="1600" kern="0">
                <a:solidFill>
                  <a:srgbClr val="D7D7D7"/>
                </a:solidFill>
                <a:latin typeface="+mj-lt"/>
                <a:cs typeface="Arial"/>
                <a:sym typeface="Helvetica Light"/>
              </a:rPr>
              <a:t>imke.hebbeln@sh-netz.com</a:t>
            </a:r>
            <a:endParaRPr lang="de-DE" sz="1600" kern="0">
              <a:solidFill>
                <a:srgbClr val="D7D7D7"/>
              </a:solidFill>
              <a:latin typeface="+mj-lt"/>
              <a:cs typeface="Arial"/>
            </a:endParaRPr>
          </a:p>
          <a:p>
            <a:pPr marL="0" marR="0" lvl="0" indent="0" algn="l" defTabSz="7789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0" cap="none" spc="0" normalizeH="0" baseline="0" noProof="0">
              <a:ln>
                <a:noFill/>
              </a:ln>
              <a:solidFill>
                <a:srgbClr val="D7D7D7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  <a:sym typeface="Helvetica Light"/>
            </a:endParaRPr>
          </a:p>
          <a:p>
            <a:pPr marL="0" marR="0" lvl="0" indent="0" algn="l" defTabSz="7789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600" kern="0">
              <a:solidFill>
                <a:srgbClr val="D7D7D7"/>
              </a:solidFill>
              <a:latin typeface="+mj-lt"/>
              <a:cs typeface="Arial" panose="020B0604020202020204" pitchFamily="34" charset="0"/>
              <a:sym typeface="Helvetica Light"/>
            </a:endParaRPr>
          </a:p>
          <a:p>
            <a:pPr marL="0" marR="0" lvl="0" indent="0" algn="l" defTabSz="7789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600" kern="0">
              <a:solidFill>
                <a:srgbClr val="D7D7D7"/>
              </a:solidFill>
              <a:latin typeface="+mj-lt"/>
              <a:cs typeface="Arial" panose="020B0604020202020204" pitchFamily="34" charset="0"/>
              <a:sym typeface="Helvetica Light"/>
            </a:endParaRPr>
          </a:p>
          <a:p>
            <a:pPr marL="0" marR="0" lvl="0" indent="0" algn="l" defTabSz="7789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600" kern="0">
              <a:solidFill>
                <a:srgbClr val="D7D7D7"/>
              </a:solidFill>
              <a:latin typeface="+mj-lt"/>
              <a:cs typeface="Arial" panose="020B0604020202020204" pitchFamily="34" charset="0"/>
              <a:sym typeface="Helvetica Light"/>
            </a:endParaRPr>
          </a:p>
          <a:p>
            <a:pPr marL="0" marR="0" lvl="0" indent="0" algn="l" defTabSz="7789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0" cap="none" spc="0" normalizeH="0" baseline="0" noProof="0">
                <a:ln>
                  <a:noFill/>
                </a:ln>
                <a:solidFill>
                  <a:srgbClr val="D7D7D7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  <a:sym typeface="Helvetica Light"/>
              </a:rPr>
              <a:t>Jan-Arne Panten</a:t>
            </a:r>
          </a:p>
          <a:p>
            <a:pPr marL="0" marR="0" lvl="0" indent="0" algn="l" defTabSz="7789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>
                <a:ln>
                  <a:noFill/>
                </a:ln>
                <a:solidFill>
                  <a:srgbClr val="D7D7D7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  <a:sym typeface="Helvetica Light"/>
              </a:rPr>
              <a:t>Individualkunden Einspeisung</a:t>
            </a:r>
          </a:p>
          <a:p>
            <a:pPr marL="0" marR="0" lvl="0" indent="0" algn="l" defTabSz="7789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kern="0">
                <a:solidFill>
                  <a:srgbClr val="D7D7D7"/>
                </a:solidFill>
                <a:latin typeface="+mj-lt"/>
                <a:cs typeface="Arial"/>
                <a:sym typeface="Helvetica Light"/>
              </a:rPr>
              <a:t>j</a:t>
            </a:r>
            <a:r>
              <a:rPr kumimoji="0" lang="de-DE" sz="1600" b="0" i="0" u="none" strike="noStrike" kern="0" cap="none" spc="0" normalizeH="0" baseline="0" noProof="0">
                <a:ln>
                  <a:noFill/>
                </a:ln>
                <a:solidFill>
                  <a:srgbClr val="D7D7D7"/>
                </a:solidFill>
                <a:effectLst/>
                <a:uLnTx/>
                <a:uFillTx/>
                <a:latin typeface="+mj-lt"/>
                <a:ea typeface="+mn-ea"/>
                <a:cs typeface="Arial"/>
                <a:sym typeface="Helvetica Light"/>
              </a:rPr>
              <a:t>an-</a:t>
            </a:r>
            <a:r>
              <a: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D7D7D7"/>
                </a:solidFill>
                <a:effectLst/>
                <a:uLnTx/>
                <a:uFillTx/>
                <a:latin typeface="+mj-lt"/>
                <a:ea typeface="+mn-ea"/>
                <a:cs typeface="Arial"/>
                <a:sym typeface="Helvetica Light"/>
              </a:rPr>
              <a:t>arne</a:t>
            </a:r>
            <a:r>
              <a:rPr lang="de-DE" sz="1600" kern="0">
                <a:solidFill>
                  <a:srgbClr val="D7D7D7"/>
                </a:solidFill>
                <a:latin typeface="+mj-lt"/>
                <a:cs typeface="Arial"/>
                <a:sym typeface="Helvetica Light"/>
              </a:rPr>
              <a:t>.</a:t>
            </a:r>
            <a:r>
              <a:rPr lang="de-DE" sz="1600" kern="0" err="1">
                <a:solidFill>
                  <a:srgbClr val="D7D7D7"/>
                </a:solidFill>
                <a:latin typeface="+mj-lt"/>
                <a:cs typeface="Arial"/>
                <a:sym typeface="Helvetica Light"/>
              </a:rPr>
              <a:t>panten</a:t>
            </a:r>
            <a:r>
              <a:rPr kumimoji="0" lang="de-DE" sz="1600" b="0" i="0" u="none" strike="noStrike" kern="0" cap="none" spc="0" normalizeH="0" baseline="0" noProof="0">
                <a:ln>
                  <a:noFill/>
                </a:ln>
                <a:solidFill>
                  <a:srgbClr val="D7D7D7"/>
                </a:solidFill>
                <a:effectLst/>
                <a:uLnTx/>
                <a:uFillTx/>
                <a:latin typeface="+mj-lt"/>
                <a:ea typeface="+mn-ea"/>
                <a:cs typeface="Arial"/>
                <a:sym typeface="Helvetica Light"/>
              </a:rPr>
              <a:t>@sh-netz.com</a:t>
            </a:r>
            <a:endParaRPr lang="de-DE" sz="1600" b="0" i="0" u="none" strike="noStrike" kern="0" cap="none" spc="0" normalizeH="0" baseline="0" noProof="0">
              <a:ln>
                <a:noFill/>
              </a:ln>
              <a:solidFill>
                <a:srgbClr val="D7D7D7"/>
              </a:solidFill>
              <a:effectLst/>
              <a:uLnTx/>
              <a:uFillTx/>
              <a:latin typeface="+mj-lt"/>
              <a:cs typeface="Arial"/>
            </a:endParaRPr>
          </a:p>
          <a:p>
            <a:pPr marL="0" marR="0" lvl="0" indent="0" algn="l" defTabSz="7789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600" kern="0">
              <a:solidFill>
                <a:srgbClr val="D7D7D7"/>
              </a:solidFill>
              <a:latin typeface="+mj-lt"/>
              <a:cs typeface="Arial" panose="020B0604020202020204" pitchFamily="34" charset="0"/>
              <a:sym typeface="Helvetica Light"/>
            </a:endParaRPr>
          </a:p>
          <a:p>
            <a:pPr marL="0" marR="0" lvl="0" indent="0" algn="l" defTabSz="7789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600" kern="0">
              <a:solidFill>
                <a:srgbClr val="D7D7D7"/>
              </a:solidFill>
              <a:latin typeface="+mj-lt"/>
              <a:cs typeface="Arial" panose="020B0604020202020204" pitchFamily="34" charset="0"/>
              <a:sym typeface="Helvetica Light"/>
            </a:endParaRPr>
          </a:p>
          <a:p>
            <a:pPr marL="0" marR="0" lvl="0" indent="0" algn="l" defTabSz="7789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600" kern="0">
              <a:solidFill>
                <a:srgbClr val="D7D7D7"/>
              </a:solidFill>
              <a:latin typeface="+mj-lt"/>
              <a:cs typeface="Arial" panose="020B0604020202020204" pitchFamily="34" charset="0"/>
              <a:sym typeface="Helvetica Light"/>
            </a:endParaRPr>
          </a:p>
          <a:p>
            <a:pPr marL="0" marR="0" lvl="0" indent="0" algn="l" defTabSz="7789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0" cap="none" spc="0" normalizeH="0" baseline="0" noProof="0">
              <a:ln>
                <a:noFill/>
              </a:ln>
              <a:solidFill>
                <a:srgbClr val="D7D7D7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Helvetica Light"/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D41C626-87F2-6303-20C0-F258AEF6B8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4" t="-353" r="-474" b="24059"/>
          <a:stretch>
            <a:fillRect/>
          </a:stretch>
        </p:blipFill>
        <p:spPr>
          <a:xfrm>
            <a:off x="7386182" y="188640"/>
            <a:ext cx="1342102" cy="1505279"/>
          </a:xfrm>
          <a:prstGeom prst="flowChartConnector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762C9AC5-3B4A-CFB9-3156-29C5D8587EB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049" r="2049"/>
          <a:stretch>
            <a:fillRect/>
          </a:stretch>
        </p:blipFill>
        <p:spPr>
          <a:xfrm>
            <a:off x="7392144" y="1988742"/>
            <a:ext cx="1440000" cy="14400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3139735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UBAQEBAQEBAQEBAQEBAQM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3AsySm2MZVMoAso1ITprxgEAAAAAAADAAAAAAADAAAAAwADAAEA////////BQAAAAMAEAAL/7xpLfZlNUmjzm3i/RtI2gQ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CAI4OAAAAAAAAAAAAAP////+DAIMAAAAFX2lkABAAAAAEcCzJKbYxlUygCyjUhOmvGANEYXRhABsAAAAETGlua2VkU2hhcGVEYXRhAAUAAAAAAAJOYW1lABkAAABMaW5rZWRTaGFwZXNEYXRhUHJvcGVydHkAEFZlcnNpb24AAQAAAAlMYXN0V3JpdGUA9PwvG50BAAAAAQD/////xgDGAAAABV9pZAAQAAAABP+8aS32ZTVJo85t4v0bSNoDRGF0YQBTAAAACFByZXNlbnRhdGlvblNjYW5uZWRGb3JMaW5rZWRTaGFwZXMAAAJOdW1iZXJGb3JtYXRTZXBhcmF0b3JNb2RlAAoAAABBdXRvbWF0aWMAAAJOYW1lACQAAABMaW5rZWRTaGFwZVByZXNlbnRhdGlvblNldHRpbmdzRGF0YQAQVmVyc2lvbgAAAAAACUxhc3RXcml0ZQAv/S8bn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AD8CwAAAAAAAAAAAAAgAf///////////////wAAAP///////////////wUAAAADAP///////wUAAAAD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GgAGTGlua2VkU2hhcGVzRGF0YVByb3BlcnR5XzEEAAAAAAAFAAAAAwAFAAAAAQADAAUBAwAAAAMA////////JQAGTGlua2VkU2hhcGVQcmVzZW50YXRpb25TZXR0aW5nc0RhdGFfMAQAAAABAAUAAAAAAAUAAAACAAUAAAAAAP///////wUAAAAAAP///////wUAAAAAAP///////wU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9098744232001910"/>
  <p:tag name="EMPOWERCHARTSPROPERTIES_A_LENGTH" val="24576"/>
  <p:tag name="MIO_PRESENTATION_LANGUAGE" val="1031"/>
  <p:tag name="EE4P_STYLE_ID" val="8c1f8f5c-d3b6-4dd0-88ef-77624b91966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VOID_BLANK_LAYOUT" val="True"/>
  <p:tag name="MIO_CD_LAYOUT_VALID_AREA" val="False"/>
  <p:tag name="MIO_CDID" val="93885ad2-9bde-41a2-96af-0b96a5fd841d"/>
  <p:tag name="MIO_CONTENTTAG" val="MErM7EzLyES9VsXrp+NqAg=="/>
  <p:tag name="MIO_DBID" val="D7590C14-188D-4365-94A4-B777FB29057E"/>
  <p:tag name="MIO_EKGUID" val="6c1ba2eb-e4c0-4700-87ed-047856693cef"/>
  <p:tag name="MIO_EMBED_FONT" val="False"/>
  <p:tag name="MIO_FALLBACK_LAYOUT" val="12"/>
  <p:tag name="MIO_HDS" val="True"/>
  <p:tag name="MIO_LASTDOWNLOADED" val="20.05.2026 11:56:23.377"/>
  <p:tag name="MIO_MATCH_COLOR_SCHEME" val="False"/>
  <p:tag name="MIO_NUMBER_OF_VALID_LAYOUTS" val="35"/>
  <p:tag name="MIO_OBJECTNAME" val="HanseWerk-Gruppe"/>
  <p:tag name="MIO_SHOW_DATE" val="False"/>
  <p:tag name="MIO_SHOW_FOOTER" val="False"/>
  <p:tag name="MIO_SHOW_PAGENUMBER" val="False"/>
  <p:tag name="MIO_SKIPVERSION" val="01.01.0001 00:00:00"/>
  <p:tag name="MIO_UPDATE" val="True"/>
  <p:tag name="MIO_VERSION" val="29.04.2026 16:42:0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HanseWerkMIOPlaceholderMapping.Trennfolie (2)MIOPlaceholderMapping.31MIOPlaceholderMapping-HanseWerkMIOPlaceholderMapping.Trennfolie mit NRMIOPlaceholderMapping.10MIOPlaceholderMapping;HanseWerkMIOPlaceholderMapping.Trennfolie (3)MIOPlaceholderMapping.32MIOPlaceholderMapping-HanseWerkMIOPlaceholderMapping.Trennfolie mit NRMIOPlaceholderMapping.1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HanseWerkMIOPlaceholderMapping.Trennfolie (1)MIOPlaceholderMapping.30MIOPlaceholderMapping-HanseWerkMIOPlaceholderMapping.Trennfolie ohne NRMIOPlaceholderMapping.1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HanseWerkMIOPlaceholderMapping.Nur TitelMIOPlaceholderMapping.7MIOPlaceholderMapping-HanseWerkMIOPlaceholderMapping.Nur TitelMIOPlaceholderMapping.12MIOPlaceholderMapping;HanseWerkMIOPlaceholderMapping.Nur TitelMIOPlaceholderMapping.7MIOPlaceholderMapping.Title 2MIOPlaceholderMapping.0MIOPlaceholderMapping-HanseWerkMIOPlaceholderMapping.Nur TitelMIOPlaceholderMapping.12MIOPlaceholderMapping.TitelMIOPlaceholderMapping.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HanseWerkMIOPlaceholderMapping.Nur Titel mit SupergrafikMIOPlaceholderMapping.8MIOPlaceholderMapping-HanseWerkMIOPlaceholderMapping.Nur Titel mit NPEMIOPlaceholderMapping.13MIOPlaceholderMapping;HanseWerkMIOPlaceholderMapping.Nur Titel mit SupergrafikMIOPlaceholderMapping.8MIOPlaceholderMapping.TitelMIOPlaceholderMapping.0MIOPlaceholderMapping-HanseWerkMIOPlaceholderMapping.Nur Titel mit NPEMIOPlaceholderMapping.13MIOPlaceholderMapping.TitelMIOPlaceholderMapping.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HanseWerkMIOPlaceholderMapping.Titel und InhaltMIOPlaceholderMapping.15MIOPlaceholderMapping-HanseWerkMIOPlaceholderMapping.Ein InhaltMIOPlaceholderMapping.16MIOPlaceholderMapping;HanseWerkMIOPlaceholderMapping.Titel und InhaltMIOPlaceholderMapping.15MIOPlaceholderMapping.InhaltsplatzhalterMIOPlaceholderMapping.13MIOPlaceholderMapping-HanseWerkMIOPlaceholderMapping.Ein InhaltMIOPlaceholderMapping.16MIOPlaceholderMapping.InhaltsplatzhalterMIOPlaceholderMapping.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HanseWerkMIOPlaceholderMapping.Zwei InhalteMIOPlaceholderMapping.16MIOPlaceholderMapping-HanseWerkMIOPlaceholderMapping.Zwei InhalteMIOPlaceholderMapping.1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HanseWerkMIOPlaceholderMapping.Drei InhalteMIOPlaceholderMapping.17MIOPlaceholderMapping-HanseWerkMIOPlaceholderMapping.Drei InhalteMIOPlaceholderMapping.18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HanseWerkMIOPlaceholderMapping.VergleichMIOPlaceholderMapping.18MIOPlaceholderMapping-HanseWerkMIOPlaceholderMapping.VergleichMIOPlaceholderMapping.19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HanseWerkMIOPlaceholderMapping.Leer, weißMIOPlaceholderMapping.20MIOPlaceholderMapping-HanseWerkMIOPlaceholderMapping.Leer, weißMIOPlaceholderMapping.20MIOPlaceholderMapping;HanseWerkMIOPlaceholderMapping.Leer, blauMIOPlaceholderMapping.21MIOPlaceholderMapping-HanseWerkMIOPlaceholderMapping.Leer, weißMIOPlaceholderMapping.2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HanseWerkMIOPlaceholderMapping.Referenz MIOPlaceholderMapping.19MIOPlaceholderMapping-HanseWerkMIOPlaceholderMapping.Inhalt mit Bild (groß)MIOPlaceholderMapping.2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HanseWerkMIOPlaceholderMapping.Nur BildMIOPlaceholderMapping.22MIOPlaceholderMapping-HanseWerkMIOPlaceholderMapping.Nur BildMIOPlaceholderMapping.27MIOPlaceholderMapping;HanseWerkMIOPlaceholderMapping.Nur Bild mit Folien-Nr.MIOPlaceholderMapping.23MIOPlaceholderMapping-HanseWerkMIOPlaceholderMapping.Nur BildMIOPlaceholderMapping.27MIOPlaceholderMapping;HanseWerkMIOPlaceholderMapping.Bild mit Text (1)MIOPlaceholderMapping.24MIOPlaceholderMapping-HanseWerkMIOPlaceholderMapping.Nur BildMIOPlaceholderMapping.27MIOPlaceholderMapping;HanseWerkMIOPlaceholderMapping.Bild mit Text (2)MIOPlaceholderMapping.25MIOPlaceholderMapping-HanseWerkMIOPlaceholderMapping.Nur BildMIOPlaceholderMapping.27MIOPlaceholderMapping;HanseWerkMIOPlaceholderMapping.Bild mit Text (3)MIOPlaceholderMapping.26MIOPlaceholderMapping-HanseWerkMIOPlaceholderMapping.Nur BildMIOPlaceholderMapping.27MIOPlaceholderMapping;HanseWerkMIOPlaceholderMapping.Bild mit Text (4)MIOPlaceholderMapping.27MIOPlaceholderMapping-HanseWerkMIOPlaceholderMapping.Nur BildMIOPlaceholderMapping.27MIOPlaceholderMapping;HanseWerkMIOPlaceholderMapping.Bild mit Text (5)MIOPlaceholderMapping.28MIOPlaceholderMapping-HanseWerkMIOPlaceholderMapping.Nur BildMIOPlaceholderMapping.27MIOPlaceholderMapping;HanseWerkMIOPlaceholderMapping.Bild mit Text (6)MIOPlaceholderMapping.29MIOPlaceholderMapping-HanseWerkMIOPlaceholderMapping.Nur BildMIOPlaceholderMapping.27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HanseWerkMIOPlaceholderMapping.KontaktMIOPlaceholderMapping.33MIOPlaceholderMapping-HanseWerkMIOPlaceholderMapping.KontaktMIOPlaceholderMapping.2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HanseWerkMIOPlaceholderMapping.Titelfolie (1)MIOPlaceholderMapping.1MIOPlaceholderMapping-HanseWerkMIOPlaceholderMapping.Titelfolie HanseWerkMIOPlaceholderMapping.1MIOPlaceholderMapping;HanseWerkMIOPlaceholderMapping.Titelfolie (2)MIOPlaceholderMapping.2MIOPlaceholderMapping-HanseWerkMIOPlaceholderMapping.Titelfolie HanseWerkMIOPlaceholderMapping.1MIOPlaceholderMapping;HanseWerkMIOPlaceholderMapping.Titelfolie (3a)MIOPlaceholderMapping.3MIOPlaceholderMapping-HanseWerkMIOPlaceholderMapping.Titelfolie HanseWerkMIOPlaceholderMapping.1MIOPlaceholderMapping;HanseWerkMIOPlaceholderMapping.Titelfolie (3b)MIOPlaceholderMapping.4MIOPlaceholderMapping-HanseWerkMIOPlaceholderMapping.Titelfolie HanseWerkMIOPlaceholderMapping.1MIOPlaceholderMapping;HanseWerkMIOPlaceholderMapping.Titelfolie (4)MIOPlaceholderMapping.5MIOPlaceholderMapping-HanseWerkMIOPlaceholderMapping.Titelfolie HanseWerkMIOPlaceholderMapping.1MIOPlaceholderMapping;HanseWerkMIOPlaceholderMapping.Titelfolie (5)MIOPlaceholderMapping.6MIOPlaceholderMapping-HanseWerkMIOPlaceholderMapping.Titelfolie HanseWerkMIOPlaceholderMapping.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HanseWerkMIOPlaceholderMapping.SchlussbotschaftMIOPlaceholderMapping.34MIOPlaceholderMapping-HanseWerkMIOPlaceholderMapping.Schlussbotschaft HanseWerkMIOPlaceholderMapping.29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e9f76a73-e02d-4dd8-ac46-756e16a1565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2689de4-ee76-4575-abcd-ee845aff431c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20b6a1de-4c31-4a05-9546-d3e5ba1ab24d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8c1f8f5c-d3b6-4dd0-88ef-77624b919662"/>
  <p:tag name="EE4P_STYLE_NAME" val="E-Bridge 16:9 Style"/>
  <p:tag name="EE4P_SMART_ELEMENT" val="Check"/>
  <p:tag name="EE4P_SMART_ELEMENT_XML" val="&lt;smartelement id=&quot;Check&quot; shape=&quot;Check&quot; box=&quot;0&quot; auto=&quot;1&quot; color=&quot;#539f51&quot;&gt;&lt;position width=&quot;20&quot; height=&quot;20&quot; alignment=&quot;1&quot; /&gt;&lt;elements&gt;&lt;element name=&quot;background&quot; autoShapeType=&quot;5&quot; adjustment=&quot;0&quot;&gt;&lt;fill visible=&quot;1&quot; foreColor=&quot;#ffffff&quot; /&gt;&lt;line visible=&quot;0&quot; foreColor=&quot;&quot; weight=&quot;0.75&quot; /&gt;&lt;reflection visible=&quot;0&quot; /&gt;&lt;shadow visible=&quot;0&quot; /&gt;&lt;/element&gt;&lt;element name=&quot;box&quot; adjustment=&quot;0&quot; size=&quot;1&quot; offsetX=&quot;0&quot; offsetY=&quot;0&quot;&gt;&lt;fill visible=&quot;1&quot; foreColor=&quot;#ffffff&quot; /&gt;&lt;line visible=&quot;1&quot; foreColor=&quot;&quot; weight=&quot;0.75&quot; /&gt;&lt;reflection visible=&quot;0&quot; /&gt;&lt;shadow visible=&quot;0&quot; /&gt;&lt;/element&gt;&lt;element name=&quot;check&quot; size=&quot;0.8&quot; offsetX=&quot;0&quot; offsetY=&quot;0&quot; auto=&quot;#539f51&quot;&gt;&lt;fill visible=&quot;1&quot; foreColor=&quot;&quot; /&gt;&lt;line visible=&quot;0&quot; foreColor=&quot;&quot; /&gt;&lt;freeform serialized=&quot;548.8431,274.0966;0,551.6802,276.9338;0,538.9674,289.5998;0,531.6802,282.3126;0,534.4467,279.5461;0,538.9692,284.0687;0,548.8431,274.0966&quot; /&gt;&lt;/element&gt;&lt;element name=&quot;cross&quot; size=&quot;0.8&quot; offsetX=&quot;0&quot; offsetY=&quot;0&quot; auto=&quot;#f60000&quot;&gt;&lt;fill visible=&quot;1&quot; foreColor=&quot;&quot; /&gt;&lt;line visible=&quot;0&quot; foreColor=&quot;&quot; /&gt;&lt;freeform serialized=&quot;100,101.414;0,103.586,105;0,100,108.586;0,101.414,110;0,105,106.414;0,108.586,110;0,110,108.586;0,106.414,105;0,110,101.414;0,108.586,100;0,105,103.586;0,101.414,100&quot; /&gt;&lt;/element&gt;&lt;element name=&quot;empty&quot; auto=&quot;5&quot;&gt;&lt;/element&gt;&lt;/elements&gt;&lt;colors&gt;&lt;color rgb=&quot;#539f51&quot; name=&quot;[Auto]&quot; default=&quot;1&quot; auto=&quot;1&quot; /&gt;&lt;color theme=&quot;5&quot; name=&quot;Accent 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/colors&gt;&lt;shapes&gt;&lt;value id=&quot;Check&quot; /&gt;&lt;value id=&quot;Cross&quot; /&gt;&lt;value id=&quot;Empty&quot; /&gt;&lt;/shapes&gt;&lt;/smartelement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8c1f8f5c-d3b6-4dd0-88ef-77624b919662"/>
  <p:tag name="EE4P_STYLE_NAME" val="E-Bridge 16:9 Style"/>
  <p:tag name="EE4P_SMART_ELEMENT" val="Check"/>
  <p:tag name="EE4P_SMART_ELEMENT_XML" val="&lt;smartelement id=&quot;Check&quot; shape=&quot;Check&quot; box=&quot;0&quot; auto=&quot;1&quot; color=&quot;#539f51&quot;&gt;&lt;position width=&quot;20&quot; height=&quot;20&quot; alignment=&quot;1&quot; /&gt;&lt;elements&gt;&lt;element name=&quot;background&quot; autoShapeType=&quot;5&quot; adjustment=&quot;0&quot;&gt;&lt;fill visible=&quot;1&quot; foreColor=&quot;#ffffff&quot; /&gt;&lt;line visible=&quot;0&quot; foreColor=&quot;&quot; weight=&quot;0.75&quot; /&gt;&lt;reflection visible=&quot;0&quot; /&gt;&lt;shadow visible=&quot;0&quot; /&gt;&lt;/element&gt;&lt;element name=&quot;box&quot; adjustment=&quot;0&quot; size=&quot;1&quot; offsetX=&quot;0&quot; offsetY=&quot;0&quot;&gt;&lt;fill visible=&quot;1&quot; foreColor=&quot;#ffffff&quot; /&gt;&lt;line visible=&quot;1&quot; foreColor=&quot;&quot; weight=&quot;0.75&quot; /&gt;&lt;reflection visible=&quot;0&quot; /&gt;&lt;shadow visible=&quot;0&quot; /&gt;&lt;/element&gt;&lt;element name=&quot;check&quot; size=&quot;0.8&quot; offsetX=&quot;0&quot; offsetY=&quot;0&quot; auto=&quot;#539f51&quot;&gt;&lt;fill visible=&quot;1&quot; foreColor=&quot;&quot; /&gt;&lt;line visible=&quot;0&quot; foreColor=&quot;&quot; /&gt;&lt;freeform serialized=&quot;548.8431,274.0966;0,551.6802,276.9338;0,538.9674,289.5998;0,531.6802,282.3126;0,534.4467,279.5461;0,538.9692,284.0687;0,548.8431,274.0966&quot; /&gt;&lt;/element&gt;&lt;element name=&quot;cross&quot; size=&quot;0.8&quot; offsetX=&quot;0&quot; offsetY=&quot;0&quot; auto=&quot;#f60000&quot;&gt;&lt;fill visible=&quot;1&quot; foreColor=&quot;&quot; /&gt;&lt;line visible=&quot;0&quot; foreColor=&quot;&quot; /&gt;&lt;freeform serialized=&quot;100,101.414;0,103.586,105;0,100,108.586;0,101.414,110;0,105,106.414;0,108.586,110;0,110,108.586;0,106.414,105;0,110,101.414;0,108.586,100;0,105,103.586;0,101.414,100&quot; /&gt;&lt;/element&gt;&lt;element name=&quot;empty&quot; auto=&quot;5&quot;&gt;&lt;/element&gt;&lt;/elements&gt;&lt;colors&gt;&lt;color rgb=&quot;#539f51&quot; name=&quot;[Auto]&quot; default=&quot;1&quot; auto=&quot;1&quot; /&gt;&lt;color theme=&quot;5&quot; name=&quot;Accent 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/colors&gt;&lt;shapes&gt;&lt;value id=&quot;Check&quot; /&gt;&lt;value id=&quot;Cross&quot; /&gt;&lt;value id=&quot;Empty&quot; /&gt;&lt;/shapes&gt;&lt;/smartelement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2689de4-ee76-4575-abcd-ee845aff431c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20b6a1de-4c31-4a05-9546-d3e5ba1ab24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HanseWerk-Gruppe">
  <a:themeElements>
    <a:clrScheme name="HanseWerk">
      <a:dk1>
        <a:srgbClr val="000000"/>
      </a:dk1>
      <a:lt1>
        <a:srgbClr val="FFFFFF"/>
      </a:lt1>
      <a:dk2>
        <a:srgbClr val="C6E0FF"/>
      </a:dk2>
      <a:lt2>
        <a:srgbClr val="001959"/>
      </a:lt2>
      <a:accent1>
        <a:srgbClr val="0077CC"/>
      </a:accent1>
      <a:accent2>
        <a:srgbClr val="001959"/>
      </a:accent2>
      <a:accent3>
        <a:srgbClr val="BEDC45"/>
      </a:accent3>
      <a:accent4>
        <a:srgbClr val="FFAA44"/>
      </a:accent4>
      <a:accent5>
        <a:srgbClr val="999892"/>
      </a:accent5>
      <a:accent6>
        <a:srgbClr val="FFE940"/>
      </a:accent6>
      <a:hlink>
        <a:srgbClr val="001959"/>
      </a:hlink>
      <a:folHlink>
        <a:srgbClr val="999892"/>
      </a:folHlink>
    </a:clrScheme>
    <a:fontScheme name="HanseWerk">
      <a:majorFont>
        <a:latin typeface="Manrope"/>
        <a:ea typeface=""/>
        <a:cs typeface=""/>
      </a:majorFont>
      <a:minorFont>
        <a:latin typeface="Manro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72000" tIns="72000" rIns="72000" bIns="72000" rtlCol="0" anchor="ctr"/>
      <a:lstStyle>
        <a:defPPr algn="ctr" defTabSz="540000">
          <a:lnSpc>
            <a:spcPct val="110000"/>
          </a:lnSpc>
          <a:spcAft>
            <a:spcPts val="400"/>
          </a:spcAft>
          <a:defRPr sz="1600" dirty="0" err="1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defTabSz="540000">
          <a:lnSpc>
            <a:spcPct val="110000"/>
          </a:lnSpc>
          <a:spcAft>
            <a:spcPts val="400"/>
          </a:spcAft>
          <a:defRPr sz="1600" dirty="0" err="1"/>
        </a:defPPr>
      </a:lstStyle>
    </a:txDef>
  </a:objectDefaults>
  <a:extraClrSchemeLst/>
  <a:custClrLst>
    <a:custClr name="Mittelblau">
      <a:srgbClr val="0077CC"/>
    </a:custClr>
    <a:custClr name="Hellblau">
      <a:srgbClr val="C6E0FF"/>
    </a:custClr>
    <a:custClr name="Dunkelblau">
      <a:srgbClr val="001959"/>
    </a:custClr>
    <a:custClr name="Grün">
      <a:srgbClr val="BEDC45"/>
    </a:custClr>
    <a:custClr name="Orange">
      <a:srgbClr val="FFAA44"/>
    </a:custClr>
    <a:custClr name="Weiß">
      <a:srgbClr val="FFFFFF"/>
    </a:custClr>
    <a:custClr name="Weiß">
      <a:srgbClr val="FFFFFF"/>
    </a:custClr>
    <a:custClr name="Weiß">
      <a:srgbClr val="FFFFFF"/>
    </a:custClr>
    <a:custClr name="Weiß">
      <a:srgbClr val="FFFFFF"/>
    </a:custClr>
    <a:custClr name="Weiß">
      <a:srgbClr val="FFFFFF"/>
    </a:custClr>
    <a:custClr name="Wasser/Kälte">
      <a:srgbClr val="C6E0FF"/>
    </a:custClr>
    <a:custClr name="Strom">
      <a:srgbClr val="BEDC45"/>
    </a:custClr>
    <a:custClr name="Wärme">
      <a:srgbClr val="FFAA44"/>
    </a:custClr>
    <a:custClr name="Gas">
      <a:srgbClr val="FFE940"/>
    </a:custClr>
    <a:custClr name="Gebäude/Telekommunikation">
      <a:srgbClr val="D6A3F0"/>
    </a:custClr>
    <a:custClr name="Fuhrpark">
      <a:srgbClr val="92D6CD"/>
    </a:custClr>
    <a:custClr name="Sonstiges">
      <a:srgbClr val="FF90B3"/>
    </a:custClr>
    <a:custClr name="Sonstiges">
      <a:srgbClr val="D1CCC6"/>
    </a:custClr>
    <a:custClr name="Weiß">
      <a:srgbClr val="FFFFFF"/>
    </a:custClr>
    <a:custClr name="Weiß">
      <a:srgbClr val="FFFFFF"/>
    </a:custClr>
    <a:custClr name="Grau 1">
      <a:srgbClr val="F6F3F2"/>
    </a:custClr>
    <a:custClr name="Grau 2">
      <a:srgbClr val="E3E1DD"/>
    </a:custClr>
    <a:custClr name="Grau 3">
      <a:srgbClr val="D1CCC6"/>
    </a:custClr>
    <a:custClr name="Grau 4">
      <a:srgbClr val="999892"/>
    </a:custClr>
    <a:custClr name="Grau 5">
      <a:srgbClr val="737267"/>
    </a:custClr>
    <a:custClr name="Grau 6">
      <a:srgbClr val="2F2F28"/>
    </a:custClr>
    <a:custClr name="Weiß">
      <a:srgbClr val="FFFFFF"/>
    </a:custClr>
    <a:custClr name="Weiß">
      <a:srgbClr val="FFFFFF"/>
    </a:custClr>
    <a:custClr name="Weiß">
      <a:srgbClr val="FFFFFF"/>
    </a:custClr>
    <a:custClr name="Weiß">
      <a:srgbClr val="FFFFFF"/>
    </a:custClr>
    <a:custClr name="Erfolg">
      <a:srgbClr val="56C039"/>
    </a:custClr>
    <a:custClr name="Warnung">
      <a:srgbClr val="EEBF3F"/>
    </a:custClr>
    <a:custClr name="Error">
      <a:srgbClr val="EF4F45"/>
    </a:custClr>
    <a:custClr name="Weiß">
      <a:srgbClr val="FFFFFF"/>
    </a:custClr>
    <a:custClr name="Weiß">
      <a:srgbClr val="FFFFFF"/>
    </a:custClr>
    <a:custClr name="Weiß">
      <a:srgbClr val="FFFFFF"/>
    </a:custClr>
    <a:custClr name="Weiß">
      <a:srgbClr val="FFFFFF"/>
    </a:custClr>
    <a:custClr name="Weiß">
      <a:srgbClr val="FFFFFF"/>
    </a:custClr>
    <a:custClr name="Weiß">
      <a:srgbClr val="FFFFFF"/>
    </a:custClr>
    <a:custClr name="Weiß">
      <a:srgbClr val="FFFFFF"/>
    </a:custClr>
  </a:custClrLst>
  <a:extLst>
    <a:ext uri="{05A4C25C-085E-4340-85A3-A5531E510DB2}">
      <thm15:themeFamily xmlns:thm15="http://schemas.microsoft.com/office/thememl/2012/main" name="Default Theme" id="{30F6F337-580D-497E-B3F3-4F5459976057}" vid="{05216330-0032-4494-94F6-2490A43C4AA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891551128510E478E5F129778A2E74A" ma:contentTypeVersion="15" ma:contentTypeDescription="Create a new document." ma:contentTypeScope="" ma:versionID="3a02839f99a84e87f7c8a51432836e59">
  <xsd:schema xmlns:xsd="http://www.w3.org/2001/XMLSchema" xmlns:xs="http://www.w3.org/2001/XMLSchema" xmlns:p="http://schemas.microsoft.com/office/2006/metadata/properties" xmlns:ns2="8ba9fac3-1463-409d-b76c-fed4c22be891" xmlns:ns3="2e0db4ee-1301-48ad-a6bc-03736ae5f5ba" targetNamespace="http://schemas.microsoft.com/office/2006/metadata/properties" ma:root="true" ma:fieldsID="8412e2b510841c7d5024196812debe8a" ns2:_="" ns3:_="">
    <xsd:import namespace="8ba9fac3-1463-409d-b76c-fed4c22be891"/>
    <xsd:import namespace="2e0db4ee-1301-48ad-a6bc-03736ae5f5b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Prio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a9fac3-1463-409d-b76c-fed4c22be8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ed2bc115-f314-4df2-a102-4eef0e49787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Prio" ma:index="22" nillable="true" ma:displayName="Prio" ma:format="Dropdown" ma:internalName="Prio">
      <xsd:simpleType>
        <xsd:restriction base="dms:Choice">
          <xsd:enumeration value="Prio A"/>
          <xsd:enumeration value="Prio B"/>
          <xsd:enumeration value="Prio C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0db4ee-1301-48ad-a6bc-03736ae5f5b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bbba2691-a2de-4e1b-bfc1-a8c4cc509875}" ma:internalName="TaxCatchAll" ma:showField="CatchAllData" ma:web="2e0db4ee-1301-48ad-a6bc-03736ae5f5b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e0db4ee-1301-48ad-a6bc-03736ae5f5ba" xsi:nil="true"/>
    <lcf76f155ced4ddcb4097134ff3c332f xmlns="8ba9fac3-1463-409d-b76c-fed4c22be891">
      <Terms xmlns="http://schemas.microsoft.com/office/infopath/2007/PartnerControls"/>
    </lcf76f155ced4ddcb4097134ff3c332f>
    <Prio xmlns="8ba9fac3-1463-409d-b76c-fed4c22be89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5CA299E-AA7E-4DEA-A37B-35608B4E8C2A}">
  <ds:schemaRefs>
    <ds:schemaRef ds:uri="2e0db4ee-1301-48ad-a6bc-03736ae5f5ba"/>
    <ds:schemaRef ds:uri="8ba9fac3-1463-409d-b76c-fed4c22be89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FE504B5-A39C-4960-93C6-8BA8E1AA5041}">
  <ds:schemaRefs>
    <ds:schemaRef ds:uri="2e0db4ee-1301-48ad-a6bc-03736ae5f5ba"/>
    <ds:schemaRef ds:uri="8ba9fac3-1463-409d-b76c-fed4c22be89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1984F83-26D8-49A9-83C3-B78ED8F8FD0B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42f063bf-ce3a-473c-8609-3866002c85b0}" enabled="1" method="Standard" siteId="{b914a242-e718-443b-a47c-6b4c649d8c0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854</Words>
  <Application>Microsoft Office PowerPoint</Application>
  <PresentationFormat>Breitbild</PresentationFormat>
  <Paragraphs>139</Paragraphs>
  <Slides>8</Slides>
  <Notes>5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6" baseType="lpstr">
      <vt:lpstr>Aptos</vt:lpstr>
      <vt:lpstr>Arial</vt:lpstr>
      <vt:lpstr>EON Brix Sans</vt:lpstr>
      <vt:lpstr>Manrope</vt:lpstr>
      <vt:lpstr>Manrope Medium</vt:lpstr>
      <vt:lpstr>Segoe UI Light</vt:lpstr>
      <vt:lpstr>Wingdings</vt:lpstr>
      <vt:lpstr>HanseWerk-Gruppe</vt:lpstr>
      <vt:lpstr>FCA Konzepte der SH Netz - Biogas</vt:lpstr>
      <vt:lpstr>FCA als Instrument zur effizienten Nutzung knapper Netzkapazitäten</vt:lpstr>
      <vt:lpstr>Fallbeispiel Wunscherweiterung einer Biogasanlage: ob ein FCA angeboten werden kann und für welchen Zeitraum ist eine Einzelfallprüfung</vt:lpstr>
      <vt:lpstr>FCA Varianten: Zwei Lösungsansätze für unterschiedliche Netzsituationen</vt:lpstr>
      <vt:lpstr>Regelbasierte Einschränkung – Was bedeutet das?</vt:lpstr>
      <vt:lpstr>Anmeldestrecke und FCA-Anfragen ab Rollout</vt:lpstr>
      <vt:lpstr>FCAs für Biogas – Wie geht es weiter?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elewski, Franziska</dc:creator>
  <cp:lastModifiedBy>Panten, Jan-Arne</cp:lastModifiedBy>
  <cp:revision>1</cp:revision>
  <dcterms:created xsi:type="dcterms:W3CDTF">2026-05-21T10:48:12Z</dcterms:created>
  <dcterms:modified xsi:type="dcterms:W3CDTF">2026-05-27T10:58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891551128510E478E5F129778A2E74A</vt:lpwstr>
  </property>
  <property fmtid="{D5CDD505-2E9C-101B-9397-08002B2CF9AE}" pid="3" name="MediaServiceImageTags">
    <vt:lpwstr/>
  </property>
</Properties>
</file>